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3" r:id="rId1"/>
    <p:sldMasterId id="2147483683" r:id="rId2"/>
    <p:sldMasterId id="2147483693" r:id="rId3"/>
    <p:sldMasterId id="2147483703" r:id="rId4"/>
    <p:sldMasterId id="2147483713" r:id="rId5"/>
  </p:sldMasterIdLst>
  <p:notesMasterIdLst>
    <p:notesMasterId r:id="rId27"/>
  </p:notesMasterIdLst>
  <p:handoutMasterIdLst>
    <p:handoutMasterId r:id="rId28"/>
  </p:handoutMasterIdLst>
  <p:sldIdLst>
    <p:sldId id="383" r:id="rId6"/>
    <p:sldId id="258" r:id="rId7"/>
    <p:sldId id="259" r:id="rId8"/>
    <p:sldId id="447" r:id="rId9"/>
    <p:sldId id="445" r:id="rId10"/>
    <p:sldId id="448" r:id="rId11"/>
    <p:sldId id="257" r:id="rId12"/>
    <p:sldId id="260" r:id="rId13"/>
    <p:sldId id="261" r:id="rId14"/>
    <p:sldId id="262" r:id="rId15"/>
    <p:sldId id="263" r:id="rId16"/>
    <p:sldId id="264" r:id="rId17"/>
    <p:sldId id="265" r:id="rId18"/>
    <p:sldId id="268" r:id="rId19"/>
    <p:sldId id="269" r:id="rId20"/>
    <p:sldId id="270" r:id="rId21"/>
    <p:sldId id="273" r:id="rId22"/>
    <p:sldId id="274" r:id="rId23"/>
    <p:sldId id="276" r:id="rId24"/>
    <p:sldId id="277" r:id="rId25"/>
    <p:sldId id="446" r:id="rId26"/>
  </p:sldIdLst>
  <p:sldSz cx="10691813" cy="7559675"/>
  <p:notesSz cx="6811963" cy="9942513"/>
  <p:custDataLst>
    <p:tags r:id="rId29"/>
  </p:custDataLst>
  <p:defaultTextStyle>
    <a:defPPr>
      <a:defRPr lang="cs-CZ"/>
    </a:defPPr>
    <a:lvl1pPr marL="0" algn="l" defTabSz="1042742" rtl="0" eaLnBrk="1" latinLnBrk="0" hangingPunct="1">
      <a:defRPr sz="2100" kern="1200">
        <a:solidFill>
          <a:schemeClr val="tx1"/>
        </a:solidFill>
        <a:latin typeface="+mn-lt"/>
        <a:ea typeface="+mn-ea"/>
        <a:cs typeface="+mn-cs"/>
      </a:defRPr>
    </a:lvl1pPr>
    <a:lvl2pPr marL="521372" algn="l" defTabSz="1042742" rtl="0" eaLnBrk="1" latinLnBrk="0" hangingPunct="1">
      <a:defRPr sz="2100" kern="1200">
        <a:solidFill>
          <a:schemeClr val="tx1"/>
        </a:solidFill>
        <a:latin typeface="+mn-lt"/>
        <a:ea typeface="+mn-ea"/>
        <a:cs typeface="+mn-cs"/>
      </a:defRPr>
    </a:lvl2pPr>
    <a:lvl3pPr marL="1042742" algn="l" defTabSz="1042742" rtl="0" eaLnBrk="1" latinLnBrk="0" hangingPunct="1">
      <a:defRPr sz="2100" kern="1200">
        <a:solidFill>
          <a:schemeClr val="tx1"/>
        </a:solidFill>
        <a:latin typeface="+mn-lt"/>
        <a:ea typeface="+mn-ea"/>
        <a:cs typeface="+mn-cs"/>
      </a:defRPr>
    </a:lvl3pPr>
    <a:lvl4pPr marL="1564114" algn="l" defTabSz="1042742" rtl="0" eaLnBrk="1" latinLnBrk="0" hangingPunct="1">
      <a:defRPr sz="2100" kern="1200">
        <a:solidFill>
          <a:schemeClr val="tx1"/>
        </a:solidFill>
        <a:latin typeface="+mn-lt"/>
        <a:ea typeface="+mn-ea"/>
        <a:cs typeface="+mn-cs"/>
      </a:defRPr>
    </a:lvl4pPr>
    <a:lvl5pPr marL="2085487" algn="l" defTabSz="1042742" rtl="0" eaLnBrk="1" latinLnBrk="0" hangingPunct="1">
      <a:defRPr sz="2100" kern="1200">
        <a:solidFill>
          <a:schemeClr val="tx1"/>
        </a:solidFill>
        <a:latin typeface="+mn-lt"/>
        <a:ea typeface="+mn-ea"/>
        <a:cs typeface="+mn-cs"/>
      </a:defRPr>
    </a:lvl5pPr>
    <a:lvl6pPr marL="2606858" algn="l" defTabSz="1042742" rtl="0" eaLnBrk="1" latinLnBrk="0" hangingPunct="1">
      <a:defRPr sz="2100" kern="1200">
        <a:solidFill>
          <a:schemeClr val="tx1"/>
        </a:solidFill>
        <a:latin typeface="+mn-lt"/>
        <a:ea typeface="+mn-ea"/>
        <a:cs typeface="+mn-cs"/>
      </a:defRPr>
    </a:lvl6pPr>
    <a:lvl7pPr marL="3128229" algn="l" defTabSz="1042742" rtl="0" eaLnBrk="1" latinLnBrk="0" hangingPunct="1">
      <a:defRPr sz="2100" kern="1200">
        <a:solidFill>
          <a:schemeClr val="tx1"/>
        </a:solidFill>
        <a:latin typeface="+mn-lt"/>
        <a:ea typeface="+mn-ea"/>
        <a:cs typeface="+mn-cs"/>
      </a:defRPr>
    </a:lvl7pPr>
    <a:lvl8pPr marL="3649601" algn="l" defTabSz="1042742" rtl="0" eaLnBrk="1" latinLnBrk="0" hangingPunct="1">
      <a:defRPr sz="2100" kern="1200">
        <a:solidFill>
          <a:schemeClr val="tx1"/>
        </a:solidFill>
        <a:latin typeface="+mn-lt"/>
        <a:ea typeface="+mn-ea"/>
        <a:cs typeface="+mn-cs"/>
      </a:defRPr>
    </a:lvl8pPr>
    <a:lvl9pPr marL="4170973" algn="l" defTabSz="1042742"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172" userDrawn="1">
          <p15:clr>
            <a:srgbClr val="A4A3A4"/>
          </p15:clr>
        </p15:guide>
        <p15:guide id="3" orient="horz" pos="907" userDrawn="1">
          <p15:clr>
            <a:srgbClr val="A4A3A4"/>
          </p15:clr>
        </p15:guide>
        <p15:guide id="4" pos="216" userDrawn="1">
          <p15:clr>
            <a:srgbClr val="A4A3A4"/>
          </p15:clr>
        </p15:guide>
        <p15:guide id="5" pos="6519" userDrawn="1">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ikko Shalimba" initials="VS" lastIdx="0" clrIdx="0">
    <p:extLst>
      <p:ext uri="{19B8F6BF-5375-455C-9EA6-DF929625EA0E}">
        <p15:presenceInfo xmlns:p15="http://schemas.microsoft.com/office/powerpoint/2012/main" userId="Veikko Shalimb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E5D1D0-E175-4ADE-A62F-ECB58DAE5176}" v="21" dt="2023-09-25T14:01:43.407"/>
  </p1510:revLst>
</p1510:revInfo>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Světlý styl 2 – zvýraznění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Střední styl 1 – zvýraznění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898" autoAdjust="0"/>
    <p:restoredTop sz="95992" autoAdjust="0"/>
  </p:normalViewPr>
  <p:slideViewPr>
    <p:cSldViewPr snapToGrid="0">
      <p:cViewPr varScale="1">
        <p:scale>
          <a:sx n="60" d="100"/>
          <a:sy n="60" d="100"/>
        </p:scale>
        <p:origin x="58" y="346"/>
      </p:cViewPr>
      <p:guideLst>
        <p:guide orient="horz" pos="4172"/>
        <p:guide orient="horz" pos="907"/>
        <p:guide pos="216"/>
        <p:guide pos="6519"/>
      </p:guideLst>
    </p:cSldViewPr>
  </p:slideViewPr>
  <p:notesTextViewPr>
    <p:cViewPr>
      <p:scale>
        <a:sx n="100" d="100"/>
        <a:sy n="100" d="100"/>
      </p:scale>
      <p:origin x="0" y="0"/>
    </p:cViewPr>
  </p:notesTextViewPr>
  <p:notesViewPr>
    <p:cSldViewPr snapToGrid="0">
      <p:cViewPr>
        <p:scale>
          <a:sx n="75" d="100"/>
          <a:sy n="75" d="100"/>
        </p:scale>
        <p:origin x="2938" y="130"/>
      </p:cViewPr>
      <p:guideLst>
        <p:guide orient="horz" pos="3132"/>
        <p:guide pos="214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ihepo, Fransina" userId="922a4e50-9028-4cf8-bef5-1454d726c48a" providerId="ADAL" clId="{94E5D1D0-E175-4ADE-A62F-ECB58DAE5176}"/>
    <pc:docChg chg="undo custSel addSld delSld modSld">
      <pc:chgData name="Shihepo, Fransina" userId="922a4e50-9028-4cf8-bef5-1454d726c48a" providerId="ADAL" clId="{94E5D1D0-E175-4ADE-A62F-ECB58DAE5176}" dt="2023-09-25T14:01:55.822" v="2143" actId="1076"/>
      <pc:docMkLst>
        <pc:docMk/>
      </pc:docMkLst>
      <pc:sldChg chg="modSp mod">
        <pc:chgData name="Shihepo, Fransina" userId="922a4e50-9028-4cf8-bef5-1454d726c48a" providerId="ADAL" clId="{94E5D1D0-E175-4ADE-A62F-ECB58DAE5176}" dt="2023-09-25T08:38:11.107" v="625" actId="27636"/>
        <pc:sldMkLst>
          <pc:docMk/>
          <pc:sldMk cId="4230346200" sldId="259"/>
        </pc:sldMkLst>
        <pc:spChg chg="mod">
          <ac:chgData name="Shihepo, Fransina" userId="922a4e50-9028-4cf8-bef5-1454d726c48a" providerId="ADAL" clId="{94E5D1D0-E175-4ADE-A62F-ECB58DAE5176}" dt="2023-09-25T08:38:11.107" v="625" actId="27636"/>
          <ac:spMkLst>
            <pc:docMk/>
            <pc:sldMk cId="4230346200" sldId="259"/>
            <ac:spMk id="3" creationId="{E3D855E0-B4C4-471A-AAE5-1E7B888CB574}"/>
          </ac:spMkLst>
        </pc:spChg>
      </pc:sldChg>
      <pc:sldChg chg="addSp delSp modSp mod">
        <pc:chgData name="Shihepo, Fransina" userId="922a4e50-9028-4cf8-bef5-1454d726c48a" providerId="ADAL" clId="{94E5D1D0-E175-4ADE-A62F-ECB58DAE5176}" dt="2023-09-25T09:20:57.024" v="1749" actId="14100"/>
        <pc:sldMkLst>
          <pc:docMk/>
          <pc:sldMk cId="1372024772" sldId="261"/>
        </pc:sldMkLst>
        <pc:picChg chg="del">
          <ac:chgData name="Shihepo, Fransina" userId="922a4e50-9028-4cf8-bef5-1454d726c48a" providerId="ADAL" clId="{94E5D1D0-E175-4ADE-A62F-ECB58DAE5176}" dt="2023-09-25T09:19:40.659" v="1735" actId="21"/>
          <ac:picMkLst>
            <pc:docMk/>
            <pc:sldMk cId="1372024772" sldId="261"/>
            <ac:picMk id="13" creationId="{164C96F0-CFC6-108E-FF61-581490C224B8}"/>
          </ac:picMkLst>
        </pc:picChg>
        <pc:picChg chg="add mod">
          <ac:chgData name="Shihepo, Fransina" userId="922a4e50-9028-4cf8-bef5-1454d726c48a" providerId="ADAL" clId="{94E5D1D0-E175-4ADE-A62F-ECB58DAE5176}" dt="2023-09-25T09:20:57.024" v="1749" actId="14100"/>
          <ac:picMkLst>
            <pc:docMk/>
            <pc:sldMk cId="1372024772" sldId="261"/>
            <ac:picMk id="14" creationId="{2BD61A6E-EB26-9DE3-EB51-2DF60D5B38DA}"/>
          </ac:picMkLst>
        </pc:picChg>
      </pc:sldChg>
      <pc:sldChg chg="addSp delSp modSp mod">
        <pc:chgData name="Shihepo, Fransina" userId="922a4e50-9028-4cf8-bef5-1454d726c48a" providerId="ADAL" clId="{94E5D1D0-E175-4ADE-A62F-ECB58DAE5176}" dt="2023-09-25T09:20:27.797" v="1744" actId="14100"/>
        <pc:sldMkLst>
          <pc:docMk/>
          <pc:sldMk cId="3936093304" sldId="262"/>
        </pc:sldMkLst>
        <pc:spChg chg="del">
          <ac:chgData name="Shihepo, Fransina" userId="922a4e50-9028-4cf8-bef5-1454d726c48a" providerId="ADAL" clId="{94E5D1D0-E175-4ADE-A62F-ECB58DAE5176}" dt="2023-09-25T09:20:10.916" v="1742" actId="478"/>
          <ac:spMkLst>
            <pc:docMk/>
            <pc:sldMk cId="3936093304" sldId="262"/>
            <ac:spMk id="6" creationId="{3C09181C-BF56-407D-9C31-89DB01238ECB}"/>
          </ac:spMkLst>
        </pc:spChg>
        <pc:spChg chg="del">
          <ac:chgData name="Shihepo, Fransina" userId="922a4e50-9028-4cf8-bef5-1454d726c48a" providerId="ADAL" clId="{94E5D1D0-E175-4ADE-A62F-ECB58DAE5176}" dt="2023-09-25T09:20:14.781" v="1743" actId="478"/>
          <ac:spMkLst>
            <pc:docMk/>
            <pc:sldMk cId="3936093304" sldId="262"/>
            <ac:spMk id="8" creationId="{4A7C4BDC-CF37-4D22-BB85-D5C02736A916}"/>
          </ac:spMkLst>
        </pc:spChg>
        <pc:picChg chg="mod">
          <ac:chgData name="Shihepo, Fransina" userId="922a4e50-9028-4cf8-bef5-1454d726c48a" providerId="ADAL" clId="{94E5D1D0-E175-4ADE-A62F-ECB58DAE5176}" dt="2023-09-25T09:20:27.797" v="1744" actId="14100"/>
          <ac:picMkLst>
            <pc:docMk/>
            <pc:sldMk cId="3936093304" sldId="262"/>
            <ac:picMk id="4" creationId="{E19D6FB6-0D0B-4578-ACF9-389A17EF5F68}"/>
          </ac:picMkLst>
        </pc:picChg>
        <pc:picChg chg="del">
          <ac:chgData name="Shihepo, Fransina" userId="922a4e50-9028-4cf8-bef5-1454d726c48a" providerId="ADAL" clId="{94E5D1D0-E175-4ADE-A62F-ECB58DAE5176}" dt="2023-09-25T09:19:48.383" v="1736" actId="478"/>
          <ac:picMkLst>
            <pc:docMk/>
            <pc:sldMk cId="3936093304" sldId="262"/>
            <ac:picMk id="5" creationId="{D3A6AFE4-7739-969C-C6F6-F8D9D8090C13}"/>
          </ac:picMkLst>
        </pc:picChg>
        <pc:picChg chg="add mod">
          <ac:chgData name="Shihepo, Fransina" userId="922a4e50-9028-4cf8-bef5-1454d726c48a" providerId="ADAL" clId="{94E5D1D0-E175-4ADE-A62F-ECB58DAE5176}" dt="2023-09-25T09:20:04.777" v="1740" actId="14100"/>
          <ac:picMkLst>
            <pc:docMk/>
            <pc:sldMk cId="3936093304" sldId="262"/>
            <ac:picMk id="16" creationId="{1E6371BB-C189-5588-CE11-AD4D19B19D90}"/>
          </ac:picMkLst>
        </pc:picChg>
      </pc:sldChg>
      <pc:sldChg chg="modSp mod">
        <pc:chgData name="Shihepo, Fransina" userId="922a4e50-9028-4cf8-bef5-1454d726c48a" providerId="ADAL" clId="{94E5D1D0-E175-4ADE-A62F-ECB58DAE5176}" dt="2023-09-25T13:09:51.535" v="2019" actId="123"/>
        <pc:sldMkLst>
          <pc:docMk/>
          <pc:sldMk cId="2667613538" sldId="263"/>
        </pc:sldMkLst>
        <pc:spChg chg="mod">
          <ac:chgData name="Shihepo, Fransina" userId="922a4e50-9028-4cf8-bef5-1454d726c48a" providerId="ADAL" clId="{94E5D1D0-E175-4ADE-A62F-ECB58DAE5176}" dt="2023-09-25T13:09:51.535" v="2019" actId="123"/>
          <ac:spMkLst>
            <pc:docMk/>
            <pc:sldMk cId="2667613538" sldId="263"/>
            <ac:spMk id="3" creationId="{C4D81197-EEA2-49B0-A235-743E6ACA7AE9}"/>
          </ac:spMkLst>
        </pc:spChg>
        <pc:spChg chg="mod">
          <ac:chgData name="Shihepo, Fransina" userId="922a4e50-9028-4cf8-bef5-1454d726c48a" providerId="ADAL" clId="{94E5D1D0-E175-4ADE-A62F-ECB58DAE5176}" dt="2023-09-25T09:39:07.143" v="1759" actId="20577"/>
          <ac:spMkLst>
            <pc:docMk/>
            <pc:sldMk cId="2667613538" sldId="263"/>
            <ac:spMk id="4" creationId="{3C7BBB1D-1276-4576-B23F-DEAFBD7AF5CD}"/>
          </ac:spMkLst>
        </pc:spChg>
      </pc:sldChg>
      <pc:sldChg chg="modSp mod">
        <pc:chgData name="Shihepo, Fransina" userId="922a4e50-9028-4cf8-bef5-1454d726c48a" providerId="ADAL" clId="{94E5D1D0-E175-4ADE-A62F-ECB58DAE5176}" dt="2023-09-25T13:11:23.536" v="2055" actId="14100"/>
        <pc:sldMkLst>
          <pc:docMk/>
          <pc:sldMk cId="123594794" sldId="264"/>
        </pc:sldMkLst>
        <pc:spChg chg="mod">
          <ac:chgData name="Shihepo, Fransina" userId="922a4e50-9028-4cf8-bef5-1454d726c48a" providerId="ADAL" clId="{94E5D1D0-E175-4ADE-A62F-ECB58DAE5176}" dt="2023-09-25T13:10:36.736" v="2046" actId="1076"/>
          <ac:spMkLst>
            <pc:docMk/>
            <pc:sldMk cId="123594794" sldId="264"/>
            <ac:spMk id="2" creationId="{638D2928-39B5-40BC-9A31-A4B9D08FC34A}"/>
          </ac:spMkLst>
        </pc:spChg>
        <pc:spChg chg="mod">
          <ac:chgData name="Shihepo, Fransina" userId="922a4e50-9028-4cf8-bef5-1454d726c48a" providerId="ADAL" clId="{94E5D1D0-E175-4ADE-A62F-ECB58DAE5176}" dt="2023-09-25T13:10:58.712" v="2050" actId="1076"/>
          <ac:spMkLst>
            <pc:docMk/>
            <pc:sldMk cId="123594794" sldId="264"/>
            <ac:spMk id="5" creationId="{CC4E6047-59AA-4AB7-93CD-4D2376DA03AF}"/>
          </ac:spMkLst>
        </pc:spChg>
        <pc:spChg chg="mod">
          <ac:chgData name="Shihepo, Fransina" userId="922a4e50-9028-4cf8-bef5-1454d726c48a" providerId="ADAL" clId="{94E5D1D0-E175-4ADE-A62F-ECB58DAE5176}" dt="2023-09-25T13:10:46.257" v="2048" actId="14100"/>
          <ac:spMkLst>
            <pc:docMk/>
            <pc:sldMk cId="123594794" sldId="264"/>
            <ac:spMk id="6" creationId="{B0CDAB5E-6857-4337-9687-2C95D95AF994}"/>
          </ac:spMkLst>
        </pc:spChg>
        <pc:spChg chg="mod">
          <ac:chgData name="Shihepo, Fransina" userId="922a4e50-9028-4cf8-bef5-1454d726c48a" providerId="ADAL" clId="{94E5D1D0-E175-4ADE-A62F-ECB58DAE5176}" dt="2023-09-25T13:11:09.638" v="2052" actId="1076"/>
          <ac:spMkLst>
            <pc:docMk/>
            <pc:sldMk cId="123594794" sldId="264"/>
            <ac:spMk id="8" creationId="{DF8A3700-8C55-44DB-A3C3-100867F6F2B8}"/>
          </ac:spMkLst>
        </pc:spChg>
        <pc:picChg chg="mod">
          <ac:chgData name="Shihepo, Fransina" userId="922a4e50-9028-4cf8-bef5-1454d726c48a" providerId="ADAL" clId="{94E5D1D0-E175-4ADE-A62F-ECB58DAE5176}" dt="2023-09-25T13:11:23.536" v="2055" actId="14100"/>
          <ac:picMkLst>
            <pc:docMk/>
            <pc:sldMk cId="123594794" sldId="264"/>
            <ac:picMk id="4" creationId="{1381176C-2BBC-47F7-8F81-8666B9257523}"/>
          </ac:picMkLst>
        </pc:picChg>
        <pc:picChg chg="mod">
          <ac:chgData name="Shihepo, Fransina" userId="922a4e50-9028-4cf8-bef5-1454d726c48a" providerId="ADAL" clId="{94E5D1D0-E175-4ADE-A62F-ECB58DAE5176}" dt="2023-09-25T13:11:19.275" v="2054" actId="14100"/>
          <ac:picMkLst>
            <pc:docMk/>
            <pc:sldMk cId="123594794" sldId="264"/>
            <ac:picMk id="7" creationId="{17E69874-4864-4C1F-B056-17D3421CB9CE}"/>
          </ac:picMkLst>
        </pc:picChg>
      </pc:sldChg>
      <pc:sldChg chg="modSp mod">
        <pc:chgData name="Shihepo, Fransina" userId="922a4e50-9028-4cf8-bef5-1454d726c48a" providerId="ADAL" clId="{94E5D1D0-E175-4ADE-A62F-ECB58DAE5176}" dt="2023-09-25T13:12:24.935" v="2061" actId="123"/>
        <pc:sldMkLst>
          <pc:docMk/>
          <pc:sldMk cId="4046713762" sldId="265"/>
        </pc:sldMkLst>
        <pc:spChg chg="mod">
          <ac:chgData name="Shihepo, Fransina" userId="922a4e50-9028-4cf8-bef5-1454d726c48a" providerId="ADAL" clId="{94E5D1D0-E175-4ADE-A62F-ECB58DAE5176}" dt="2023-09-25T13:12:14.959" v="2059" actId="1076"/>
          <ac:spMkLst>
            <pc:docMk/>
            <pc:sldMk cId="4046713762" sldId="265"/>
            <ac:spMk id="2" creationId="{9F44A885-7EF2-4CF3-94E2-70DE5DAFADDB}"/>
          </ac:spMkLst>
        </pc:spChg>
        <pc:spChg chg="mod">
          <ac:chgData name="Shihepo, Fransina" userId="922a4e50-9028-4cf8-bef5-1454d726c48a" providerId="ADAL" clId="{94E5D1D0-E175-4ADE-A62F-ECB58DAE5176}" dt="2023-09-25T13:12:24.935" v="2061" actId="123"/>
          <ac:spMkLst>
            <pc:docMk/>
            <pc:sldMk cId="4046713762" sldId="265"/>
            <ac:spMk id="3" creationId="{EE9BFAF0-3A5C-4C83-9A4F-6614E27DE2C5}"/>
          </ac:spMkLst>
        </pc:spChg>
      </pc:sldChg>
      <pc:sldChg chg="modSp del mod">
        <pc:chgData name="Shihepo, Fransina" userId="922a4e50-9028-4cf8-bef5-1454d726c48a" providerId="ADAL" clId="{94E5D1D0-E175-4ADE-A62F-ECB58DAE5176}" dt="2023-09-25T13:10:07.495" v="2020" actId="2696"/>
        <pc:sldMkLst>
          <pc:docMk/>
          <pc:sldMk cId="484506249" sldId="266"/>
        </pc:sldMkLst>
        <pc:spChg chg="mod">
          <ac:chgData name="Shihepo, Fransina" userId="922a4e50-9028-4cf8-bef5-1454d726c48a" providerId="ADAL" clId="{94E5D1D0-E175-4ADE-A62F-ECB58DAE5176}" dt="2023-09-25T13:08:39.184" v="2007" actId="21"/>
          <ac:spMkLst>
            <pc:docMk/>
            <pc:sldMk cId="484506249" sldId="266"/>
            <ac:spMk id="3" creationId="{540F2B23-9FBA-4C1B-908E-22361C507B93}"/>
          </ac:spMkLst>
        </pc:spChg>
      </pc:sldChg>
      <pc:sldChg chg="modSp del mod">
        <pc:chgData name="Shihepo, Fransina" userId="922a4e50-9028-4cf8-bef5-1454d726c48a" providerId="ADAL" clId="{94E5D1D0-E175-4ADE-A62F-ECB58DAE5176}" dt="2023-09-25T13:12:35.068" v="2062" actId="2696"/>
        <pc:sldMkLst>
          <pc:docMk/>
          <pc:sldMk cId="3030081114" sldId="267"/>
        </pc:sldMkLst>
        <pc:spChg chg="mod">
          <ac:chgData name="Shihepo, Fransina" userId="922a4e50-9028-4cf8-bef5-1454d726c48a" providerId="ADAL" clId="{94E5D1D0-E175-4ADE-A62F-ECB58DAE5176}" dt="2023-09-25T13:11:57.854" v="2056" actId="21"/>
          <ac:spMkLst>
            <pc:docMk/>
            <pc:sldMk cId="3030081114" sldId="267"/>
            <ac:spMk id="3" creationId="{33D7ABD5-9064-4E70-B304-72D9C02DD622}"/>
          </ac:spMkLst>
        </pc:spChg>
      </pc:sldChg>
      <pc:sldChg chg="modSp mod">
        <pc:chgData name="Shihepo, Fransina" userId="922a4e50-9028-4cf8-bef5-1454d726c48a" providerId="ADAL" clId="{94E5D1D0-E175-4ADE-A62F-ECB58DAE5176}" dt="2023-09-25T13:13:11.438" v="2068" actId="1076"/>
        <pc:sldMkLst>
          <pc:docMk/>
          <pc:sldMk cId="614248013" sldId="268"/>
        </pc:sldMkLst>
        <pc:spChg chg="mod">
          <ac:chgData name="Shihepo, Fransina" userId="922a4e50-9028-4cf8-bef5-1454d726c48a" providerId="ADAL" clId="{94E5D1D0-E175-4ADE-A62F-ECB58DAE5176}" dt="2023-09-25T13:13:05.685" v="2067" actId="1076"/>
          <ac:spMkLst>
            <pc:docMk/>
            <pc:sldMk cId="614248013" sldId="268"/>
            <ac:spMk id="6" creationId="{6BB370FE-00E9-4B9E-8124-0BB6CD3862C2}"/>
          </ac:spMkLst>
        </pc:spChg>
        <pc:spChg chg="mod">
          <ac:chgData name="Shihepo, Fransina" userId="922a4e50-9028-4cf8-bef5-1454d726c48a" providerId="ADAL" clId="{94E5D1D0-E175-4ADE-A62F-ECB58DAE5176}" dt="2023-09-25T13:13:11.438" v="2068" actId="1076"/>
          <ac:spMkLst>
            <pc:docMk/>
            <pc:sldMk cId="614248013" sldId="268"/>
            <ac:spMk id="7" creationId="{BA4D2777-BDD4-4249-967E-C1F1292846F0}"/>
          </ac:spMkLst>
        </pc:spChg>
        <pc:picChg chg="mod">
          <ac:chgData name="Shihepo, Fransina" userId="922a4e50-9028-4cf8-bef5-1454d726c48a" providerId="ADAL" clId="{94E5D1D0-E175-4ADE-A62F-ECB58DAE5176}" dt="2023-09-25T13:12:45.281" v="2063" actId="1076"/>
          <ac:picMkLst>
            <pc:docMk/>
            <pc:sldMk cId="614248013" sldId="268"/>
            <ac:picMk id="4" creationId="{7C2C083C-D32A-418C-AFBF-3977DC05AD92}"/>
          </ac:picMkLst>
        </pc:picChg>
        <pc:picChg chg="mod">
          <ac:chgData name="Shihepo, Fransina" userId="922a4e50-9028-4cf8-bef5-1454d726c48a" providerId="ADAL" clId="{94E5D1D0-E175-4ADE-A62F-ECB58DAE5176}" dt="2023-09-25T13:12:56.584" v="2066" actId="14100"/>
          <ac:picMkLst>
            <pc:docMk/>
            <pc:sldMk cId="614248013" sldId="268"/>
            <ac:picMk id="5" creationId="{E5EFFEE2-DD44-4B53-B8B8-9D76010FD7B6}"/>
          </ac:picMkLst>
        </pc:picChg>
      </pc:sldChg>
      <pc:sldChg chg="addSp modSp mod">
        <pc:chgData name="Shihepo, Fransina" userId="922a4e50-9028-4cf8-bef5-1454d726c48a" providerId="ADAL" clId="{94E5D1D0-E175-4ADE-A62F-ECB58DAE5176}" dt="2023-09-25T13:30:34.158" v="2124" actId="1076"/>
        <pc:sldMkLst>
          <pc:docMk/>
          <pc:sldMk cId="4114520307" sldId="270"/>
        </pc:sldMkLst>
        <pc:spChg chg="mod">
          <ac:chgData name="Shihepo, Fransina" userId="922a4e50-9028-4cf8-bef5-1454d726c48a" providerId="ADAL" clId="{94E5D1D0-E175-4ADE-A62F-ECB58DAE5176}" dt="2023-09-25T13:29:36.629" v="2114" actId="1076"/>
          <ac:spMkLst>
            <pc:docMk/>
            <pc:sldMk cId="4114520307" sldId="270"/>
            <ac:spMk id="2" creationId="{B6A36D08-EC4D-4A53-9699-FF09EA5EFD9D}"/>
          </ac:spMkLst>
        </pc:spChg>
        <pc:spChg chg="mod">
          <ac:chgData name="Shihepo, Fransina" userId="922a4e50-9028-4cf8-bef5-1454d726c48a" providerId="ADAL" clId="{94E5D1D0-E175-4ADE-A62F-ECB58DAE5176}" dt="2023-09-25T13:29:45.903" v="2116" actId="14100"/>
          <ac:spMkLst>
            <pc:docMk/>
            <pc:sldMk cId="4114520307" sldId="270"/>
            <ac:spMk id="3" creationId="{1DBCA01D-CDE4-4951-AA16-DABA254E82D9}"/>
          </ac:spMkLst>
        </pc:spChg>
        <pc:picChg chg="add mod">
          <ac:chgData name="Shihepo, Fransina" userId="922a4e50-9028-4cf8-bef5-1454d726c48a" providerId="ADAL" clId="{94E5D1D0-E175-4ADE-A62F-ECB58DAE5176}" dt="2023-09-25T13:30:25.340" v="2122" actId="1076"/>
          <ac:picMkLst>
            <pc:docMk/>
            <pc:sldMk cId="4114520307" sldId="270"/>
            <ac:picMk id="12" creationId="{21D1103E-51DA-2B71-D64D-C4B534C09D22}"/>
          </ac:picMkLst>
        </pc:picChg>
        <pc:picChg chg="add mod">
          <ac:chgData name="Shihepo, Fransina" userId="922a4e50-9028-4cf8-bef5-1454d726c48a" providerId="ADAL" clId="{94E5D1D0-E175-4ADE-A62F-ECB58DAE5176}" dt="2023-09-25T13:30:30.307" v="2123" actId="1076"/>
          <ac:picMkLst>
            <pc:docMk/>
            <pc:sldMk cId="4114520307" sldId="270"/>
            <ac:picMk id="13" creationId="{1600B698-B3F6-61D4-7CAA-9D621AC57EB0}"/>
          </ac:picMkLst>
        </pc:picChg>
        <pc:picChg chg="add mod">
          <ac:chgData name="Shihepo, Fransina" userId="922a4e50-9028-4cf8-bef5-1454d726c48a" providerId="ADAL" clId="{94E5D1D0-E175-4ADE-A62F-ECB58DAE5176}" dt="2023-09-25T13:30:34.158" v="2124" actId="1076"/>
          <ac:picMkLst>
            <pc:docMk/>
            <pc:sldMk cId="4114520307" sldId="270"/>
            <ac:picMk id="15" creationId="{A806C0A9-FE9F-CA9C-3604-D33A05E77DB7}"/>
          </ac:picMkLst>
        </pc:picChg>
      </pc:sldChg>
      <pc:sldChg chg="addSp delSp modSp del mod">
        <pc:chgData name="Shihepo, Fransina" userId="922a4e50-9028-4cf8-bef5-1454d726c48a" providerId="ADAL" clId="{94E5D1D0-E175-4ADE-A62F-ECB58DAE5176}" dt="2023-09-25T13:17:08.136" v="2083" actId="2696"/>
        <pc:sldMkLst>
          <pc:docMk/>
          <pc:sldMk cId="2965097183" sldId="271"/>
        </pc:sldMkLst>
        <pc:spChg chg="mod">
          <ac:chgData name="Shihepo, Fransina" userId="922a4e50-9028-4cf8-bef5-1454d726c48a" providerId="ADAL" clId="{94E5D1D0-E175-4ADE-A62F-ECB58DAE5176}" dt="2023-09-25T13:15:33.386" v="2070" actId="1076"/>
          <ac:spMkLst>
            <pc:docMk/>
            <pc:sldMk cId="2965097183" sldId="271"/>
            <ac:spMk id="5" creationId="{CA808B3B-A40C-45F2-AFCF-66FA9FC4073D}"/>
          </ac:spMkLst>
        </pc:spChg>
        <pc:spChg chg="del mod">
          <ac:chgData name="Shihepo, Fransina" userId="922a4e50-9028-4cf8-bef5-1454d726c48a" providerId="ADAL" clId="{94E5D1D0-E175-4ADE-A62F-ECB58DAE5176}" dt="2023-09-25T13:16:14.703" v="2073" actId="478"/>
          <ac:spMkLst>
            <pc:docMk/>
            <pc:sldMk cId="2965097183" sldId="271"/>
            <ac:spMk id="13" creationId="{FDC37F9B-5558-468C-A261-5393C17DB7D6}"/>
          </ac:spMkLst>
        </pc:spChg>
        <pc:spChg chg="add mod">
          <ac:chgData name="Shihepo, Fransina" userId="922a4e50-9028-4cf8-bef5-1454d726c48a" providerId="ADAL" clId="{94E5D1D0-E175-4ADE-A62F-ECB58DAE5176}" dt="2023-09-25T13:16:48.778" v="2079" actId="21"/>
          <ac:spMkLst>
            <pc:docMk/>
            <pc:sldMk cId="2965097183" sldId="271"/>
            <ac:spMk id="17" creationId="{C55F7AEC-FF90-DC89-E6E9-EA8BAD07322D}"/>
          </ac:spMkLst>
        </pc:spChg>
        <pc:graphicFrameChg chg="del">
          <ac:chgData name="Shihepo, Fransina" userId="922a4e50-9028-4cf8-bef5-1454d726c48a" providerId="ADAL" clId="{94E5D1D0-E175-4ADE-A62F-ECB58DAE5176}" dt="2023-09-25T13:16:20.416" v="2074" actId="478"/>
          <ac:graphicFrameMkLst>
            <pc:docMk/>
            <pc:sldMk cId="2965097183" sldId="271"/>
            <ac:graphicFrameMk id="11" creationId="{0D1EC9D7-E8C9-476E-A1C4-50F6F8DDBF24}"/>
          </ac:graphicFrameMkLst>
        </pc:graphicFrameChg>
        <pc:picChg chg="del">
          <ac:chgData name="Shihepo, Fransina" userId="922a4e50-9028-4cf8-bef5-1454d726c48a" providerId="ADAL" clId="{94E5D1D0-E175-4ADE-A62F-ECB58DAE5176}" dt="2023-09-25T13:16:28.812" v="2075" actId="21"/>
          <ac:picMkLst>
            <pc:docMk/>
            <pc:sldMk cId="2965097183" sldId="271"/>
            <ac:picMk id="4" creationId="{EAD9622A-2DB6-43DB-8741-9885FF97E754}"/>
          </ac:picMkLst>
        </pc:picChg>
        <pc:picChg chg="del">
          <ac:chgData name="Shihepo, Fransina" userId="922a4e50-9028-4cf8-bef5-1454d726c48a" providerId="ADAL" clId="{94E5D1D0-E175-4ADE-A62F-ECB58DAE5176}" dt="2023-09-25T13:16:48.778" v="2079" actId="21"/>
          <ac:picMkLst>
            <pc:docMk/>
            <pc:sldMk cId="2965097183" sldId="271"/>
            <ac:picMk id="6" creationId="{AAE61575-BBB2-422D-A001-CC65CD9BE865}"/>
          </ac:picMkLst>
        </pc:picChg>
      </pc:sldChg>
      <pc:sldChg chg="addSp modSp mod">
        <pc:chgData name="Shihepo, Fransina" userId="922a4e50-9028-4cf8-bef5-1454d726c48a" providerId="ADAL" clId="{94E5D1D0-E175-4ADE-A62F-ECB58DAE5176}" dt="2023-09-25T13:28:21.892" v="2113" actId="1037"/>
        <pc:sldMkLst>
          <pc:docMk/>
          <pc:sldMk cId="1634471434" sldId="273"/>
        </pc:sldMkLst>
        <pc:spChg chg="mod">
          <ac:chgData name="Shihepo, Fransina" userId="922a4e50-9028-4cf8-bef5-1454d726c48a" providerId="ADAL" clId="{94E5D1D0-E175-4ADE-A62F-ECB58DAE5176}" dt="2023-09-25T13:27:00.353" v="2086" actId="1076"/>
          <ac:spMkLst>
            <pc:docMk/>
            <pc:sldMk cId="1634471434" sldId="273"/>
            <ac:spMk id="2" creationId="{77D6F236-E222-4735-98D8-E61B8CF7F58A}"/>
          </ac:spMkLst>
        </pc:spChg>
        <pc:spChg chg="mod">
          <ac:chgData name="Shihepo, Fransina" userId="922a4e50-9028-4cf8-bef5-1454d726c48a" providerId="ADAL" clId="{94E5D1D0-E175-4ADE-A62F-ECB58DAE5176}" dt="2023-09-25T13:27:06.453" v="2087" actId="1076"/>
          <ac:spMkLst>
            <pc:docMk/>
            <pc:sldMk cId="1634471434" sldId="273"/>
            <ac:spMk id="3" creationId="{C24ED221-0758-4FFD-8E4D-C6ED610CD640}"/>
          </ac:spMkLst>
        </pc:spChg>
        <pc:picChg chg="add mod">
          <ac:chgData name="Shihepo, Fransina" userId="922a4e50-9028-4cf8-bef5-1454d726c48a" providerId="ADAL" clId="{94E5D1D0-E175-4ADE-A62F-ECB58DAE5176}" dt="2023-09-25T13:28:10.538" v="2098" actId="14100"/>
          <ac:picMkLst>
            <pc:docMk/>
            <pc:sldMk cId="1634471434" sldId="273"/>
            <ac:picMk id="13" creationId="{B63E6E0F-1252-B7B7-052E-8AF5A8903C5F}"/>
          </ac:picMkLst>
        </pc:picChg>
        <pc:picChg chg="add mod">
          <ac:chgData name="Shihepo, Fransina" userId="922a4e50-9028-4cf8-bef5-1454d726c48a" providerId="ADAL" clId="{94E5D1D0-E175-4ADE-A62F-ECB58DAE5176}" dt="2023-09-25T13:28:21.892" v="2113" actId="1037"/>
          <ac:picMkLst>
            <pc:docMk/>
            <pc:sldMk cId="1634471434" sldId="273"/>
            <ac:picMk id="15" creationId="{101E0CA4-4D87-E30F-2ED4-1838358A9FA5}"/>
          </ac:picMkLst>
        </pc:picChg>
      </pc:sldChg>
      <pc:sldChg chg="addSp delSp modSp mod">
        <pc:chgData name="Shihepo, Fransina" userId="922a4e50-9028-4cf8-bef5-1454d726c48a" providerId="ADAL" clId="{94E5D1D0-E175-4ADE-A62F-ECB58DAE5176}" dt="2023-09-25T14:00:44.112" v="2136" actId="14100"/>
        <pc:sldMkLst>
          <pc:docMk/>
          <pc:sldMk cId="3054208195" sldId="276"/>
        </pc:sldMkLst>
        <pc:spChg chg="mod">
          <ac:chgData name="Shihepo, Fransina" userId="922a4e50-9028-4cf8-bef5-1454d726c48a" providerId="ADAL" clId="{94E5D1D0-E175-4ADE-A62F-ECB58DAE5176}" dt="2023-09-25T13:30:52.381" v="2125" actId="1076"/>
          <ac:spMkLst>
            <pc:docMk/>
            <pc:sldMk cId="3054208195" sldId="276"/>
            <ac:spMk id="2" creationId="{B56D399C-ACA0-4CDA-BFEE-E8DE680EE38B}"/>
          </ac:spMkLst>
        </pc:spChg>
        <pc:spChg chg="mod">
          <ac:chgData name="Shihepo, Fransina" userId="922a4e50-9028-4cf8-bef5-1454d726c48a" providerId="ADAL" clId="{94E5D1D0-E175-4ADE-A62F-ECB58DAE5176}" dt="2023-09-25T13:59:27.372" v="2127" actId="14100"/>
          <ac:spMkLst>
            <pc:docMk/>
            <pc:sldMk cId="3054208195" sldId="276"/>
            <ac:spMk id="3" creationId="{13CF5C20-0C9B-4C27-9453-54E671B5C0FD}"/>
          </ac:spMkLst>
        </pc:spChg>
        <pc:picChg chg="add mod">
          <ac:chgData name="Shihepo, Fransina" userId="922a4e50-9028-4cf8-bef5-1454d726c48a" providerId="ADAL" clId="{94E5D1D0-E175-4ADE-A62F-ECB58DAE5176}" dt="2023-09-25T13:59:43.105" v="2130" actId="1076"/>
          <ac:picMkLst>
            <pc:docMk/>
            <pc:sldMk cId="3054208195" sldId="276"/>
            <ac:picMk id="13" creationId="{3306F045-6E11-32E1-8735-229B4EB538A7}"/>
          </ac:picMkLst>
        </pc:picChg>
        <pc:picChg chg="add del mod">
          <ac:chgData name="Shihepo, Fransina" userId="922a4e50-9028-4cf8-bef5-1454d726c48a" providerId="ADAL" clId="{94E5D1D0-E175-4ADE-A62F-ECB58DAE5176}" dt="2023-09-25T14:00:10.492" v="2132" actId="478"/>
          <ac:picMkLst>
            <pc:docMk/>
            <pc:sldMk cId="3054208195" sldId="276"/>
            <ac:picMk id="15" creationId="{CB2D4F18-ADA1-67B1-696F-643D5AF89076}"/>
          </ac:picMkLst>
        </pc:picChg>
        <pc:picChg chg="add mod">
          <ac:chgData name="Shihepo, Fransina" userId="922a4e50-9028-4cf8-bef5-1454d726c48a" providerId="ADAL" clId="{94E5D1D0-E175-4ADE-A62F-ECB58DAE5176}" dt="2023-09-25T14:00:44.112" v="2136" actId="14100"/>
          <ac:picMkLst>
            <pc:docMk/>
            <pc:sldMk cId="3054208195" sldId="276"/>
            <ac:picMk id="17" creationId="{9748F73B-AF1B-8B7A-2D87-D05940656420}"/>
          </ac:picMkLst>
        </pc:picChg>
      </pc:sldChg>
      <pc:sldChg chg="addSp modSp mod">
        <pc:chgData name="Shihepo, Fransina" userId="922a4e50-9028-4cf8-bef5-1454d726c48a" providerId="ADAL" clId="{94E5D1D0-E175-4ADE-A62F-ECB58DAE5176}" dt="2023-09-25T14:01:55.822" v="2143" actId="1076"/>
        <pc:sldMkLst>
          <pc:docMk/>
          <pc:sldMk cId="1911003786" sldId="277"/>
        </pc:sldMkLst>
        <pc:picChg chg="add mod">
          <ac:chgData name="Shihepo, Fransina" userId="922a4e50-9028-4cf8-bef5-1454d726c48a" providerId="ADAL" clId="{94E5D1D0-E175-4ADE-A62F-ECB58DAE5176}" dt="2023-09-25T14:01:23.604" v="2139" actId="1076"/>
          <ac:picMkLst>
            <pc:docMk/>
            <pc:sldMk cId="1911003786" sldId="277"/>
            <ac:picMk id="12" creationId="{40C24CEA-CD5B-8DCF-DD45-7478D555A8B0}"/>
          </ac:picMkLst>
        </pc:picChg>
        <pc:picChg chg="add mod">
          <ac:chgData name="Shihepo, Fransina" userId="922a4e50-9028-4cf8-bef5-1454d726c48a" providerId="ADAL" clId="{94E5D1D0-E175-4ADE-A62F-ECB58DAE5176}" dt="2023-09-25T14:01:55.822" v="2143" actId="1076"/>
          <ac:picMkLst>
            <pc:docMk/>
            <pc:sldMk cId="1911003786" sldId="277"/>
            <ac:picMk id="14" creationId="{688B9E9E-CCC9-0757-541A-BCF6EFAABA8A}"/>
          </ac:picMkLst>
        </pc:picChg>
      </pc:sldChg>
      <pc:sldChg chg="addSp delSp modSp mod">
        <pc:chgData name="Shihepo, Fransina" userId="922a4e50-9028-4cf8-bef5-1454d726c48a" providerId="ADAL" clId="{94E5D1D0-E175-4ADE-A62F-ECB58DAE5176}" dt="2023-09-25T09:18:58.784" v="1733" actId="1038"/>
        <pc:sldMkLst>
          <pc:docMk/>
          <pc:sldMk cId="2033668868" sldId="445"/>
        </pc:sldMkLst>
        <pc:spChg chg="del">
          <ac:chgData name="Shihepo, Fransina" userId="922a4e50-9028-4cf8-bef5-1454d726c48a" providerId="ADAL" clId="{94E5D1D0-E175-4ADE-A62F-ECB58DAE5176}" dt="2023-09-25T09:16:27.770" v="1557" actId="478"/>
          <ac:spMkLst>
            <pc:docMk/>
            <pc:sldMk cId="2033668868" sldId="445"/>
            <ac:spMk id="3" creationId="{290C0AA4-E66F-4385-8F4B-74E2B16499E9}"/>
          </ac:spMkLst>
        </pc:spChg>
        <pc:spChg chg="add del mod">
          <ac:chgData name="Shihepo, Fransina" userId="922a4e50-9028-4cf8-bef5-1454d726c48a" providerId="ADAL" clId="{94E5D1D0-E175-4ADE-A62F-ECB58DAE5176}" dt="2023-09-25T09:16:20.481" v="1554" actId="478"/>
          <ac:spMkLst>
            <pc:docMk/>
            <pc:sldMk cId="2033668868" sldId="445"/>
            <ac:spMk id="4" creationId="{6F43BE08-26C4-23C1-2E2D-392726804822}"/>
          </ac:spMkLst>
        </pc:spChg>
        <pc:spChg chg="add mod">
          <ac:chgData name="Shihepo, Fransina" userId="922a4e50-9028-4cf8-bef5-1454d726c48a" providerId="ADAL" clId="{94E5D1D0-E175-4ADE-A62F-ECB58DAE5176}" dt="2023-09-25T09:18:58.784" v="1733" actId="1038"/>
          <ac:spMkLst>
            <pc:docMk/>
            <pc:sldMk cId="2033668868" sldId="445"/>
            <ac:spMk id="13" creationId="{66ECC6A8-6066-1C57-850F-81543ED6AD5C}"/>
          </ac:spMkLst>
        </pc:spChg>
        <pc:spChg chg="del mod">
          <ac:chgData name="Shihepo, Fransina" userId="922a4e50-9028-4cf8-bef5-1454d726c48a" providerId="ADAL" clId="{94E5D1D0-E175-4ADE-A62F-ECB58DAE5176}" dt="2023-09-25T09:16:24.971" v="1556" actId="478"/>
          <ac:spMkLst>
            <pc:docMk/>
            <pc:sldMk cId="2033668868" sldId="445"/>
            <ac:spMk id="15" creationId="{FC0E4A2F-AE80-4179-8E7F-B7B3B698E3C7}"/>
          </ac:spMkLst>
        </pc:spChg>
        <pc:picChg chg="del">
          <ac:chgData name="Shihepo, Fransina" userId="922a4e50-9028-4cf8-bef5-1454d726c48a" providerId="ADAL" clId="{94E5D1D0-E175-4ADE-A62F-ECB58DAE5176}" dt="2023-09-25T09:16:12.431" v="1553" actId="478"/>
          <ac:picMkLst>
            <pc:docMk/>
            <pc:sldMk cId="2033668868" sldId="445"/>
            <ac:picMk id="6" creationId="{5EBF1715-A666-4732-8871-0FCF55B74B24}"/>
          </ac:picMkLst>
        </pc:picChg>
        <pc:picChg chg="add mod">
          <ac:chgData name="Shihepo, Fransina" userId="922a4e50-9028-4cf8-bef5-1454d726c48a" providerId="ADAL" clId="{94E5D1D0-E175-4ADE-A62F-ECB58DAE5176}" dt="2023-09-25T09:17:10.448" v="1564" actId="14100"/>
          <ac:picMkLst>
            <pc:docMk/>
            <pc:sldMk cId="2033668868" sldId="445"/>
            <ac:picMk id="16386" creationId="{11D7EC8C-78CD-761A-304D-272242E87B5D}"/>
          </ac:picMkLst>
        </pc:picChg>
      </pc:sldChg>
      <pc:sldChg chg="modSp add mod">
        <pc:chgData name="Shihepo, Fransina" userId="922a4e50-9028-4cf8-bef5-1454d726c48a" providerId="ADAL" clId="{94E5D1D0-E175-4ADE-A62F-ECB58DAE5176}" dt="2023-09-25T09:15:10.678" v="1551" actId="20577"/>
        <pc:sldMkLst>
          <pc:docMk/>
          <pc:sldMk cId="1252148006" sldId="447"/>
        </pc:sldMkLst>
        <pc:spChg chg="mod">
          <ac:chgData name="Shihepo, Fransina" userId="922a4e50-9028-4cf8-bef5-1454d726c48a" providerId="ADAL" clId="{94E5D1D0-E175-4ADE-A62F-ECB58DAE5176}" dt="2023-09-25T09:09:59.889" v="1121" actId="20577"/>
          <ac:spMkLst>
            <pc:docMk/>
            <pc:sldMk cId="1252148006" sldId="447"/>
            <ac:spMk id="2" creationId="{AA22F841-86FA-42BF-BFBE-C54A4197C211}"/>
          </ac:spMkLst>
        </pc:spChg>
        <pc:spChg chg="mod">
          <ac:chgData name="Shihepo, Fransina" userId="922a4e50-9028-4cf8-bef5-1454d726c48a" providerId="ADAL" clId="{94E5D1D0-E175-4ADE-A62F-ECB58DAE5176}" dt="2023-09-25T09:15:10.678" v="1551" actId="20577"/>
          <ac:spMkLst>
            <pc:docMk/>
            <pc:sldMk cId="1252148006" sldId="447"/>
            <ac:spMk id="3" creationId="{E3D855E0-B4C4-471A-AAE5-1E7B888CB574}"/>
          </ac:spMkLst>
        </pc:spChg>
      </pc:sldChg>
      <pc:sldChg chg="add">
        <pc:chgData name="Shihepo, Fransina" userId="922a4e50-9028-4cf8-bef5-1454d726c48a" providerId="ADAL" clId="{94E5D1D0-E175-4ADE-A62F-ECB58DAE5176}" dt="2023-09-25T09:15:31.114" v="1552" actId="2890"/>
        <pc:sldMkLst>
          <pc:docMk/>
          <pc:sldMk cId="419728133" sldId="448"/>
        </pc:sldMkLst>
      </pc:sldChg>
      <pc:sldChg chg="delSp add del mod">
        <pc:chgData name="Shihepo, Fransina" userId="922a4e50-9028-4cf8-bef5-1454d726c48a" providerId="ADAL" clId="{94E5D1D0-E175-4ADE-A62F-ECB58DAE5176}" dt="2023-09-25T09:21:13.468" v="1750" actId="2696"/>
        <pc:sldMkLst>
          <pc:docMk/>
          <pc:sldMk cId="2944124935" sldId="449"/>
        </pc:sldMkLst>
        <pc:picChg chg="del">
          <ac:chgData name="Shihepo, Fransina" userId="922a4e50-9028-4cf8-bef5-1454d726c48a" providerId="ADAL" clId="{94E5D1D0-E175-4ADE-A62F-ECB58DAE5176}" dt="2023-09-25T09:20:38.345" v="1745" actId="21"/>
          <ac:picMkLst>
            <pc:docMk/>
            <pc:sldMk cId="2944124935" sldId="449"/>
            <ac:picMk id="5" creationId="{D3A6AFE4-7739-969C-C6F6-F8D9D8090C13}"/>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5363750" cy="352294"/>
          </a:xfrm>
          <a:prstGeom prst="rect">
            <a:avLst/>
          </a:prstGeom>
        </p:spPr>
        <p:txBody>
          <a:bodyPr vert="horz" lIns="0" tIns="0" rIns="0" bIns="0" rtlCol="0"/>
          <a:lstStyle>
            <a:lvl1pPr algn="l">
              <a:defRPr sz="1200"/>
            </a:lvl1pPr>
          </a:lstStyle>
          <a:p>
            <a:endParaRPr lang="cs-CZ" sz="900" dirty="0">
              <a:latin typeface="SKODA Next" panose="020B0504020603020204" pitchFamily="34" charset="0"/>
              <a:ea typeface="Verdana" pitchFamily="34" charset="0"/>
              <a:cs typeface="Verdana" pitchFamily="34" charset="0"/>
            </a:endParaRPr>
          </a:p>
        </p:txBody>
      </p:sp>
      <p:sp>
        <p:nvSpPr>
          <p:cNvPr id="3" name="Zástupný symbol pro datum 2"/>
          <p:cNvSpPr>
            <a:spLocks noGrp="1"/>
          </p:cNvSpPr>
          <p:nvPr>
            <p:ph type="dt" sz="quarter" idx="1"/>
          </p:nvPr>
        </p:nvSpPr>
        <p:spPr>
          <a:xfrm>
            <a:off x="5846488" y="0"/>
            <a:ext cx="965475" cy="352294"/>
          </a:xfrm>
          <a:prstGeom prst="rect">
            <a:avLst/>
          </a:prstGeom>
        </p:spPr>
        <p:txBody>
          <a:bodyPr vert="horz" lIns="0" tIns="0" rIns="0" bIns="0" rtlCol="0"/>
          <a:lstStyle>
            <a:lvl1pPr algn="r">
              <a:defRPr sz="1200"/>
            </a:lvl1pPr>
          </a:lstStyle>
          <a:p>
            <a:fld id="{839AC645-426F-485D-BF89-D5B06960D6A1}" type="datetimeFigureOut">
              <a:rPr lang="cs-CZ" sz="900" smtClean="0">
                <a:latin typeface="SKODA Next" panose="020B0504020603020204" pitchFamily="34" charset="0"/>
                <a:ea typeface="Verdana" pitchFamily="34" charset="0"/>
                <a:cs typeface="Verdana" pitchFamily="34" charset="0"/>
              </a:rPr>
              <a:pPr/>
              <a:t>25.09.2023</a:t>
            </a:fld>
            <a:endParaRPr lang="cs-CZ" sz="900" dirty="0">
              <a:latin typeface="SKODA Next" panose="020B0504020603020204" pitchFamily="34" charset="0"/>
              <a:ea typeface="Verdana" pitchFamily="34" charset="0"/>
              <a:cs typeface="Verdana" pitchFamily="34" charset="0"/>
            </a:endParaRPr>
          </a:p>
        </p:txBody>
      </p:sp>
      <p:sp>
        <p:nvSpPr>
          <p:cNvPr id="4" name="Zástupný symbol pro zápatí 3"/>
          <p:cNvSpPr>
            <a:spLocks noGrp="1"/>
          </p:cNvSpPr>
          <p:nvPr>
            <p:ph type="ftr" sz="quarter" idx="2"/>
          </p:nvPr>
        </p:nvSpPr>
        <p:spPr>
          <a:xfrm>
            <a:off x="0" y="9590219"/>
            <a:ext cx="5363750" cy="352294"/>
          </a:xfrm>
          <a:prstGeom prst="rect">
            <a:avLst/>
          </a:prstGeom>
        </p:spPr>
        <p:txBody>
          <a:bodyPr vert="horz" lIns="0" tIns="0" rIns="0" bIns="0" rtlCol="0" anchor="b"/>
          <a:lstStyle>
            <a:lvl1pPr algn="l">
              <a:defRPr sz="1200"/>
            </a:lvl1pPr>
          </a:lstStyle>
          <a:p>
            <a:endParaRPr lang="cs-CZ" sz="900" dirty="0">
              <a:latin typeface="SKODA Next" panose="020B0504020603020204" pitchFamily="34" charset="0"/>
              <a:ea typeface="Verdana" pitchFamily="34" charset="0"/>
              <a:cs typeface="Verdana" pitchFamily="34" charset="0"/>
            </a:endParaRPr>
          </a:p>
        </p:txBody>
      </p:sp>
      <p:sp>
        <p:nvSpPr>
          <p:cNvPr id="5" name="Zástupný symbol pro číslo snímku 4"/>
          <p:cNvSpPr>
            <a:spLocks noGrp="1"/>
          </p:cNvSpPr>
          <p:nvPr>
            <p:ph type="sldNum" sz="quarter" idx="3"/>
          </p:nvPr>
        </p:nvSpPr>
        <p:spPr>
          <a:xfrm>
            <a:off x="5846488" y="9590219"/>
            <a:ext cx="965475" cy="352294"/>
          </a:xfrm>
          <a:prstGeom prst="rect">
            <a:avLst/>
          </a:prstGeom>
        </p:spPr>
        <p:txBody>
          <a:bodyPr vert="horz" lIns="0" tIns="0" rIns="0" bIns="0" rtlCol="0" anchor="b"/>
          <a:lstStyle>
            <a:lvl1pPr algn="r">
              <a:defRPr sz="1200"/>
            </a:lvl1pPr>
          </a:lstStyle>
          <a:p>
            <a:fld id="{D4CF9FA0-453B-44E2-87EE-486FCDD97806}" type="slidenum">
              <a:rPr lang="cs-CZ" sz="900" smtClean="0">
                <a:latin typeface="SKODA Next" panose="020B0504020603020204" pitchFamily="34" charset="0"/>
                <a:ea typeface="Verdana" pitchFamily="34" charset="0"/>
                <a:cs typeface="Verdana" pitchFamily="34" charset="0"/>
              </a:rPr>
              <a:pPr/>
              <a:t>‹#›</a:t>
            </a:fld>
            <a:endParaRPr lang="cs-CZ" sz="900" dirty="0">
              <a:latin typeface="SKODA Next" panose="020B0504020603020204" pitchFamily="34" charset="0"/>
              <a:ea typeface="Verdana" pitchFamily="34" charset="0"/>
              <a:cs typeface="Verdana" pitchFamily="34" charset="0"/>
            </a:endParaRPr>
          </a:p>
        </p:txBody>
      </p:sp>
    </p:spTree>
    <p:extLst>
      <p:ext uri="{BB962C8B-B14F-4D97-AF65-F5344CB8AC3E}">
        <p14:creationId xmlns:p14="http://schemas.microsoft.com/office/powerpoint/2010/main" val="41823872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5363750" cy="352294"/>
          </a:xfrm>
          <a:prstGeom prst="rect">
            <a:avLst/>
          </a:prstGeom>
        </p:spPr>
        <p:txBody>
          <a:bodyPr vert="horz" lIns="0" tIns="0" rIns="0" bIns="0" rtlCol="0"/>
          <a:lstStyle>
            <a:lvl1pPr algn="l">
              <a:defRPr sz="900">
                <a:latin typeface="SKODA Next" panose="020B0504020603020204" pitchFamily="34" charset="0"/>
                <a:ea typeface="Verdana" pitchFamily="34" charset="0"/>
                <a:cs typeface="Verdana" pitchFamily="34" charset="0"/>
              </a:defRPr>
            </a:lvl1pPr>
          </a:lstStyle>
          <a:p>
            <a:endParaRPr lang="cs-CZ" dirty="0"/>
          </a:p>
        </p:txBody>
      </p:sp>
      <p:sp>
        <p:nvSpPr>
          <p:cNvPr id="3" name="Zástupný symbol pro datum 2"/>
          <p:cNvSpPr>
            <a:spLocks noGrp="1"/>
          </p:cNvSpPr>
          <p:nvPr>
            <p:ph type="dt" idx="1"/>
          </p:nvPr>
        </p:nvSpPr>
        <p:spPr>
          <a:xfrm>
            <a:off x="5846488" y="0"/>
            <a:ext cx="965475" cy="352294"/>
          </a:xfrm>
          <a:prstGeom prst="rect">
            <a:avLst/>
          </a:prstGeom>
        </p:spPr>
        <p:txBody>
          <a:bodyPr vert="horz" lIns="0" tIns="0" rIns="0" bIns="0" rtlCol="0"/>
          <a:lstStyle>
            <a:lvl1pPr algn="r">
              <a:defRPr sz="900">
                <a:latin typeface="SKODA Next" panose="020B0504020603020204" pitchFamily="34" charset="0"/>
                <a:ea typeface="Verdana" pitchFamily="34" charset="0"/>
                <a:cs typeface="Verdana" pitchFamily="34" charset="0"/>
              </a:defRPr>
            </a:lvl1pPr>
          </a:lstStyle>
          <a:p>
            <a:fld id="{3DF265A4-7ECE-4568-9246-39EF07969DAF}" type="datetimeFigureOut">
              <a:rPr lang="cs-CZ" smtClean="0"/>
              <a:pPr/>
              <a:t>25.09.2023</a:t>
            </a:fld>
            <a:endParaRPr lang="cs-CZ" dirty="0"/>
          </a:p>
        </p:txBody>
      </p:sp>
      <p:sp>
        <p:nvSpPr>
          <p:cNvPr id="4" name="Zástupný symbol pro obrázek snímku 3"/>
          <p:cNvSpPr>
            <a:spLocks noGrp="1" noRot="1" noChangeAspect="1"/>
          </p:cNvSpPr>
          <p:nvPr>
            <p:ph type="sldImg" idx="2"/>
          </p:nvPr>
        </p:nvSpPr>
        <p:spPr>
          <a:xfrm>
            <a:off x="771525" y="746125"/>
            <a:ext cx="5268913" cy="3727450"/>
          </a:xfrm>
          <a:prstGeom prst="rect">
            <a:avLst/>
          </a:prstGeom>
          <a:noFill/>
          <a:ln w="12700">
            <a:solidFill>
              <a:prstClr val="black"/>
            </a:solidFill>
          </a:ln>
        </p:spPr>
        <p:txBody>
          <a:bodyPr vert="horz" lIns="91440" tIns="45720" rIns="91440" bIns="45720" rtlCol="0" anchor="ctr"/>
          <a:lstStyle/>
          <a:p>
            <a:endParaRPr lang="cs-CZ" noProof="0" dirty="0"/>
          </a:p>
        </p:txBody>
      </p:sp>
      <p:sp>
        <p:nvSpPr>
          <p:cNvPr id="5" name="Zástupný symbol pro poznámky 4"/>
          <p:cNvSpPr>
            <a:spLocks noGrp="1"/>
          </p:cNvSpPr>
          <p:nvPr>
            <p:ph type="body" sz="quarter" idx="3"/>
          </p:nvPr>
        </p:nvSpPr>
        <p:spPr>
          <a:xfrm>
            <a:off x="681197" y="4722694"/>
            <a:ext cx="5449570" cy="4474131"/>
          </a:xfrm>
          <a:prstGeom prst="rect">
            <a:avLst/>
          </a:prstGeom>
        </p:spPr>
        <p:txBody>
          <a:bodyPr vert="horz" lIns="91440" tIns="45720" rIns="91440" bIns="45720" rtlCol="0">
            <a:normAutofit/>
          </a:body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6" name="Zástupný symbol pro zápatí 5"/>
          <p:cNvSpPr>
            <a:spLocks noGrp="1"/>
          </p:cNvSpPr>
          <p:nvPr>
            <p:ph type="ftr" sz="quarter" idx="4"/>
          </p:nvPr>
        </p:nvSpPr>
        <p:spPr>
          <a:xfrm>
            <a:off x="0" y="9590219"/>
            <a:ext cx="5363750" cy="352294"/>
          </a:xfrm>
          <a:prstGeom prst="rect">
            <a:avLst/>
          </a:prstGeom>
        </p:spPr>
        <p:txBody>
          <a:bodyPr vert="horz" lIns="0" tIns="0" rIns="0" bIns="0" rtlCol="0" anchor="b"/>
          <a:lstStyle>
            <a:lvl1pPr algn="l">
              <a:defRPr sz="900">
                <a:latin typeface="SKODA Next" panose="020B0504020603020204" pitchFamily="34" charset="0"/>
                <a:ea typeface="Verdana" pitchFamily="34" charset="0"/>
                <a:cs typeface="Verdana" pitchFamily="34" charset="0"/>
              </a:defRPr>
            </a:lvl1pPr>
          </a:lstStyle>
          <a:p>
            <a:endParaRPr lang="cs-CZ" dirty="0"/>
          </a:p>
        </p:txBody>
      </p:sp>
      <p:sp>
        <p:nvSpPr>
          <p:cNvPr id="7" name="Zástupný symbol pro číslo snímku 6"/>
          <p:cNvSpPr>
            <a:spLocks noGrp="1"/>
          </p:cNvSpPr>
          <p:nvPr>
            <p:ph type="sldNum" sz="quarter" idx="5"/>
          </p:nvPr>
        </p:nvSpPr>
        <p:spPr>
          <a:xfrm>
            <a:off x="5846488" y="9590219"/>
            <a:ext cx="965475" cy="352294"/>
          </a:xfrm>
          <a:prstGeom prst="rect">
            <a:avLst/>
          </a:prstGeom>
        </p:spPr>
        <p:txBody>
          <a:bodyPr vert="horz" lIns="0" tIns="0" rIns="0" bIns="0" rtlCol="0" anchor="b"/>
          <a:lstStyle>
            <a:lvl1pPr algn="r">
              <a:defRPr sz="900">
                <a:latin typeface="SKODA Next" panose="020B0504020603020204" pitchFamily="34" charset="0"/>
                <a:ea typeface="Verdana" pitchFamily="34" charset="0"/>
                <a:cs typeface="Verdana" pitchFamily="34" charset="0"/>
              </a:defRPr>
            </a:lvl1pPr>
          </a:lstStyle>
          <a:p>
            <a:fld id="{7DCD363E-0387-4F03-A368-7EC1FE0C90C6}" type="slidenum">
              <a:rPr lang="cs-CZ" smtClean="0"/>
              <a:pPr/>
              <a:t>‹#›</a:t>
            </a:fld>
            <a:endParaRPr lang="cs-CZ" dirty="0"/>
          </a:p>
        </p:txBody>
      </p:sp>
    </p:spTree>
    <p:extLst>
      <p:ext uri="{BB962C8B-B14F-4D97-AF65-F5344CB8AC3E}">
        <p14:creationId xmlns:p14="http://schemas.microsoft.com/office/powerpoint/2010/main" val="3112837212"/>
      </p:ext>
    </p:extLst>
  </p:cSld>
  <p:clrMap bg1="lt1" tx1="dk1" bg2="lt2" tx2="dk2" accent1="accent1" accent2="accent2" accent3="accent3" accent4="accent4" accent5="accent5" accent6="accent6" hlink="hlink" folHlink="folHlink"/>
  <p:notesStyle>
    <a:lvl1pPr marL="0" indent="179946" algn="l" defTabSz="1042742" rtl="0" eaLnBrk="1" latinLnBrk="0" hangingPunct="1">
      <a:buClr>
        <a:schemeClr val="tx1"/>
      </a:buClr>
      <a:buFont typeface="Wingdings" panose="05000000000000000000" pitchFamily="2" charset="2"/>
      <a:buChar char="§"/>
      <a:defRPr sz="900" kern="1200">
        <a:solidFill>
          <a:schemeClr val="tx1"/>
        </a:solidFill>
        <a:latin typeface="SKODA Next" panose="020B0504020603020204" pitchFamily="34" charset="0"/>
        <a:ea typeface="Verdana" pitchFamily="34" charset="0"/>
        <a:cs typeface="Verdana" pitchFamily="34" charset="0"/>
      </a:defRPr>
    </a:lvl1pPr>
    <a:lvl2pPr marL="179946" indent="179946" algn="l" defTabSz="1042742" rtl="0" eaLnBrk="1" latinLnBrk="0" hangingPunct="1">
      <a:buClr>
        <a:schemeClr val="tx1"/>
      </a:buClr>
      <a:buFont typeface="Wingdings" panose="05000000000000000000" pitchFamily="2" charset="2"/>
      <a:buChar char="§"/>
      <a:defRPr sz="900" kern="1200">
        <a:solidFill>
          <a:schemeClr val="tx1"/>
        </a:solidFill>
        <a:latin typeface="SKODA Next" panose="020B0504020603020204" pitchFamily="34" charset="0"/>
        <a:ea typeface="Verdana" pitchFamily="34" charset="0"/>
        <a:cs typeface="Verdana" pitchFamily="34" charset="0"/>
      </a:defRPr>
    </a:lvl2pPr>
    <a:lvl3pPr marL="359892" indent="179946" algn="l" defTabSz="1042742" rtl="0" eaLnBrk="1" latinLnBrk="0" hangingPunct="1">
      <a:buClr>
        <a:schemeClr val="tx1"/>
      </a:buClr>
      <a:buFont typeface="Wingdings" panose="05000000000000000000" pitchFamily="2" charset="2"/>
      <a:buChar char="§"/>
      <a:defRPr sz="900" kern="1200">
        <a:solidFill>
          <a:schemeClr val="tx1"/>
        </a:solidFill>
        <a:latin typeface="SKODA Next" panose="020B0504020603020204" pitchFamily="34" charset="0"/>
        <a:ea typeface="Verdana" pitchFamily="34" charset="0"/>
        <a:cs typeface="Verdana" pitchFamily="34" charset="0"/>
      </a:defRPr>
    </a:lvl3pPr>
    <a:lvl4pPr marL="539838" indent="179946" algn="l" defTabSz="1042742" rtl="0" eaLnBrk="1" latinLnBrk="0" hangingPunct="1">
      <a:buClr>
        <a:schemeClr val="tx1"/>
      </a:buClr>
      <a:buFont typeface="Wingdings" panose="05000000000000000000" pitchFamily="2" charset="2"/>
      <a:buChar char="§"/>
      <a:defRPr sz="900" kern="1200">
        <a:solidFill>
          <a:schemeClr val="tx1"/>
        </a:solidFill>
        <a:latin typeface="SKODA Next" panose="020B0504020603020204" pitchFamily="34" charset="0"/>
        <a:ea typeface="Verdana" pitchFamily="34" charset="0"/>
        <a:cs typeface="Verdana" pitchFamily="34" charset="0"/>
      </a:defRPr>
    </a:lvl4pPr>
    <a:lvl5pPr marL="719784" indent="179946" algn="l" defTabSz="1042742" rtl="0" eaLnBrk="1" latinLnBrk="0" hangingPunct="1">
      <a:buClr>
        <a:schemeClr val="tx1"/>
      </a:buClr>
      <a:buFont typeface="Wingdings" panose="05000000000000000000" pitchFamily="2" charset="2"/>
      <a:buChar char="§"/>
      <a:defRPr sz="900" kern="1200">
        <a:solidFill>
          <a:schemeClr val="tx1"/>
        </a:solidFill>
        <a:latin typeface="SKODA Next" panose="020B0504020603020204" pitchFamily="34" charset="0"/>
        <a:ea typeface="Verdana" pitchFamily="34" charset="0"/>
        <a:cs typeface="Verdana" pitchFamily="34" charset="0"/>
      </a:defRPr>
    </a:lvl5pPr>
    <a:lvl6pPr marL="2606858" algn="l" defTabSz="1042742" rtl="0" eaLnBrk="1" latinLnBrk="0" hangingPunct="1">
      <a:defRPr sz="1400" kern="1200">
        <a:solidFill>
          <a:schemeClr val="tx1"/>
        </a:solidFill>
        <a:latin typeface="+mn-lt"/>
        <a:ea typeface="+mn-ea"/>
        <a:cs typeface="+mn-cs"/>
      </a:defRPr>
    </a:lvl6pPr>
    <a:lvl7pPr marL="3128229" algn="l" defTabSz="1042742" rtl="0" eaLnBrk="1" latinLnBrk="0" hangingPunct="1">
      <a:defRPr sz="1400" kern="1200">
        <a:solidFill>
          <a:schemeClr val="tx1"/>
        </a:solidFill>
        <a:latin typeface="+mn-lt"/>
        <a:ea typeface="+mn-ea"/>
        <a:cs typeface="+mn-cs"/>
      </a:defRPr>
    </a:lvl7pPr>
    <a:lvl8pPr marL="3649601" algn="l" defTabSz="1042742" rtl="0" eaLnBrk="1" latinLnBrk="0" hangingPunct="1">
      <a:defRPr sz="1400" kern="1200">
        <a:solidFill>
          <a:schemeClr val="tx1"/>
        </a:solidFill>
        <a:latin typeface="+mn-lt"/>
        <a:ea typeface="+mn-ea"/>
        <a:cs typeface="+mn-cs"/>
      </a:defRPr>
    </a:lvl8pPr>
    <a:lvl9pPr marL="4170973" algn="l" defTabSz="1042742"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en-GB" dirty="0"/>
          </a:p>
        </p:txBody>
      </p:sp>
      <p:sp>
        <p:nvSpPr>
          <p:cNvPr id="4" name="Zástupný symbol pro číslo snímku 3"/>
          <p:cNvSpPr>
            <a:spLocks noGrp="1"/>
          </p:cNvSpPr>
          <p:nvPr>
            <p:ph type="sldNum" sz="quarter" idx="10"/>
          </p:nvPr>
        </p:nvSpPr>
        <p:spPr/>
        <p:txBody>
          <a:bodyPr/>
          <a:lstStyle/>
          <a:p>
            <a:fld id="{7DCD363E-0387-4F03-A368-7EC1FE0C90C6}" type="slidenum">
              <a:rPr lang="en-GB" noProof="0" smtClean="0"/>
              <a:pPr/>
              <a:t>1</a:t>
            </a:fld>
            <a:endParaRPr lang="en-GB" noProof="0" dirty="0"/>
          </a:p>
        </p:txBody>
      </p:sp>
    </p:spTree>
    <p:extLst>
      <p:ext uri="{BB962C8B-B14F-4D97-AF65-F5344CB8AC3E}">
        <p14:creationId xmlns:p14="http://schemas.microsoft.com/office/powerpoint/2010/main" val="38394605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4.gi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4.gi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4.gi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4.gi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4.gi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3.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4.gi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4.xml"/><Relationship Id="rId1" Type="http://schemas.openxmlformats.org/officeDocument/2006/relationships/tags" Target="../tags/tag12.x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image" Target="../media/image4.gi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4.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4.gi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5.xml"/><Relationship Id="rId1" Type="http://schemas.openxmlformats.org/officeDocument/2006/relationships/tags" Target="../tags/tag15.x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4.gi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5.xml"/><Relationship Id="rId1" Type="http://schemas.openxmlformats.org/officeDocument/2006/relationships/tags" Target="../tags/tag16.x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4.gi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Dar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20" name="Skupina 19"/>
          <p:cNvGrpSpPr/>
          <p:nvPr userDrawn="1"/>
        </p:nvGrpSpPr>
        <p:grpSpPr>
          <a:xfrm>
            <a:off x="-1" y="-1905"/>
            <a:ext cx="10691994" cy="5870435"/>
            <a:chOff x="-1" y="-1905"/>
            <a:chExt cx="10691994" cy="5870435"/>
          </a:xfrm>
        </p:grpSpPr>
        <p:sp>
          <p:nvSpPr>
            <p:cNvPr id="28" name="Volný tvar 27"/>
            <p:cNvSpPr/>
            <p:nvPr userDrawn="1"/>
          </p:nvSpPr>
          <p:spPr>
            <a:xfrm>
              <a:off x="8671948" y="0"/>
              <a:ext cx="2019872" cy="3165168"/>
            </a:xfrm>
            <a:custGeom>
              <a:avLst/>
              <a:gdLst>
                <a:gd name="connsiteX0" fmla="*/ 1600200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5886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7782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9678 w 1609678"/>
                <a:gd name="connsiteY0" fmla="*/ 0 h 2472267"/>
                <a:gd name="connsiteX1" fmla="*/ 711200 w 1609678"/>
                <a:gd name="connsiteY1" fmla="*/ 0 h 2472267"/>
                <a:gd name="connsiteX2" fmla="*/ 0 w 1609678"/>
                <a:gd name="connsiteY2" fmla="*/ 1549400 h 2472267"/>
                <a:gd name="connsiteX3" fmla="*/ 465666 w 1609678"/>
                <a:gd name="connsiteY3" fmla="*/ 2472267 h 2472267"/>
                <a:gd name="connsiteX4" fmla="*/ 1608666 w 1609678"/>
                <a:gd name="connsiteY4" fmla="*/ 2472267 h 2472267"/>
                <a:gd name="connsiteX0" fmla="*/ 1609678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4 w 1611574"/>
                <a:gd name="connsiteY0" fmla="*/ 0 h 2472267"/>
                <a:gd name="connsiteX1" fmla="*/ 711200 w 1611574"/>
                <a:gd name="connsiteY1" fmla="*/ 0 h 2472267"/>
                <a:gd name="connsiteX2" fmla="*/ 0 w 1611574"/>
                <a:gd name="connsiteY2" fmla="*/ 1549400 h 2472267"/>
                <a:gd name="connsiteX3" fmla="*/ 465666 w 1611574"/>
                <a:gd name="connsiteY3" fmla="*/ 2472267 h 2472267"/>
                <a:gd name="connsiteX4" fmla="*/ 1610561 w 1611574"/>
                <a:gd name="connsiteY4" fmla="*/ 2472267 h 2472267"/>
                <a:gd name="connsiteX0" fmla="*/ 1609679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5 w 1611575"/>
                <a:gd name="connsiteY0" fmla="*/ 0 h 2472267"/>
                <a:gd name="connsiteX1" fmla="*/ 711200 w 1611575"/>
                <a:gd name="connsiteY1" fmla="*/ 0 h 2472267"/>
                <a:gd name="connsiteX2" fmla="*/ 0 w 1611575"/>
                <a:gd name="connsiteY2" fmla="*/ 1549400 h 2472267"/>
                <a:gd name="connsiteX3" fmla="*/ 465666 w 1611575"/>
                <a:gd name="connsiteY3" fmla="*/ 2472267 h 2472267"/>
                <a:gd name="connsiteX4" fmla="*/ 1610561 w 1611575"/>
                <a:gd name="connsiteY4" fmla="*/ 2472267 h 2472267"/>
                <a:gd name="connsiteX0" fmla="*/ 1609680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3995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9681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7 w 1611577"/>
                <a:gd name="connsiteY0" fmla="*/ 0 h 2472267"/>
                <a:gd name="connsiteX1" fmla="*/ 711200 w 1611577"/>
                <a:gd name="connsiteY1" fmla="*/ 0 h 2472267"/>
                <a:gd name="connsiteX2" fmla="*/ 0 w 1611577"/>
                <a:gd name="connsiteY2" fmla="*/ 1549400 h 2472267"/>
                <a:gd name="connsiteX3" fmla="*/ 465666 w 1611577"/>
                <a:gd name="connsiteY3" fmla="*/ 2472267 h 2472267"/>
                <a:gd name="connsiteX4" fmla="*/ 1610561 w 1611577"/>
                <a:gd name="connsiteY4" fmla="*/ 2472267 h 2472267"/>
                <a:gd name="connsiteX0" fmla="*/ 1609682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7787 w 1608666"/>
                <a:gd name="connsiteY0" fmla="*/ 0 h 2472267"/>
                <a:gd name="connsiteX1" fmla="*/ 709305 w 1608666"/>
                <a:gd name="connsiteY1" fmla="*/ 0 h 2472267"/>
                <a:gd name="connsiteX2" fmla="*/ 0 w 1608666"/>
                <a:gd name="connsiteY2" fmla="*/ 1549400 h 2472267"/>
                <a:gd name="connsiteX3" fmla="*/ 463771 w 1608666"/>
                <a:gd name="connsiteY3" fmla="*/ 2472267 h 2472267"/>
                <a:gd name="connsiteX4" fmla="*/ 1608666 w 1608666"/>
                <a:gd name="connsiteY4" fmla="*/ 2472267 h 2472267"/>
                <a:gd name="connsiteX0" fmla="*/ 1603996 w 1604875"/>
                <a:gd name="connsiteY0" fmla="*/ 0 h 2472267"/>
                <a:gd name="connsiteX1" fmla="*/ 705514 w 1604875"/>
                <a:gd name="connsiteY1" fmla="*/ 0 h 2472267"/>
                <a:gd name="connsiteX2" fmla="*/ 0 w 1604875"/>
                <a:gd name="connsiteY2" fmla="*/ 1549400 h 2472267"/>
                <a:gd name="connsiteX3" fmla="*/ 459980 w 1604875"/>
                <a:gd name="connsiteY3" fmla="*/ 2472267 h 2472267"/>
                <a:gd name="connsiteX4" fmla="*/ 1604875 w 1604875"/>
                <a:gd name="connsiteY4" fmla="*/ 2472267 h 2472267"/>
                <a:gd name="connsiteX0" fmla="*/ 1603996 w 1604875"/>
                <a:gd name="connsiteY0" fmla="*/ 1905 h 2474172"/>
                <a:gd name="connsiteX1" fmla="*/ 457229 w 1604875"/>
                <a:gd name="connsiteY1" fmla="*/ 0 h 2474172"/>
                <a:gd name="connsiteX2" fmla="*/ 0 w 1604875"/>
                <a:gd name="connsiteY2" fmla="*/ 1551305 h 2474172"/>
                <a:gd name="connsiteX3" fmla="*/ 459980 w 1604875"/>
                <a:gd name="connsiteY3" fmla="*/ 2474172 h 2474172"/>
                <a:gd name="connsiteX4" fmla="*/ 1604875 w 1604875"/>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5576 w 2010471"/>
                <a:gd name="connsiteY3" fmla="*/ 2474172 h 2474172"/>
                <a:gd name="connsiteX4" fmla="*/ 2010471 w 2010471"/>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7472 w 2010471"/>
                <a:gd name="connsiteY3" fmla="*/ 2474172 h 2474172"/>
                <a:gd name="connsiteX4" fmla="*/ 2010471 w 2010471"/>
                <a:gd name="connsiteY4" fmla="*/ 2474172 h 2474172"/>
                <a:gd name="connsiteX0" fmla="*/ 2009592 w 2010471"/>
                <a:gd name="connsiteY0" fmla="*/ 1905 h 3163927"/>
                <a:gd name="connsiteX1" fmla="*/ 862825 w 2010471"/>
                <a:gd name="connsiteY1" fmla="*/ 0 h 3163927"/>
                <a:gd name="connsiteX2" fmla="*/ 0 w 2010471"/>
                <a:gd name="connsiteY2" fmla="*/ 1898088 h 3163927"/>
                <a:gd name="connsiteX3" fmla="*/ 867472 w 2010471"/>
                <a:gd name="connsiteY3" fmla="*/ 2474172 h 3163927"/>
                <a:gd name="connsiteX4" fmla="*/ 2010471 w 2010471"/>
                <a:gd name="connsiteY4" fmla="*/ 3163927 h 3163927"/>
                <a:gd name="connsiteX0" fmla="*/ 2009592 w 2010471"/>
                <a:gd name="connsiteY0" fmla="*/ 1905 h 3163927"/>
                <a:gd name="connsiteX1" fmla="*/ 862825 w 2010471"/>
                <a:gd name="connsiteY1" fmla="*/ 0 h 3163927"/>
                <a:gd name="connsiteX2" fmla="*/ 0 w 2010471"/>
                <a:gd name="connsiteY2" fmla="*/ 1898088 h 3163927"/>
                <a:gd name="connsiteX3" fmla="*/ 640035 w 2010471"/>
                <a:gd name="connsiteY3" fmla="*/ 3163927 h 3163927"/>
                <a:gd name="connsiteX4" fmla="*/ 2010471 w 2010471"/>
                <a:gd name="connsiteY4" fmla="*/ 3163927 h 3163927"/>
                <a:gd name="connsiteX0" fmla="*/ 2009592 w 2010471"/>
                <a:gd name="connsiteY0" fmla="*/ 1905 h 3167738"/>
                <a:gd name="connsiteX1" fmla="*/ 862825 w 2010471"/>
                <a:gd name="connsiteY1" fmla="*/ 0 h 3167738"/>
                <a:gd name="connsiteX2" fmla="*/ 0 w 2010471"/>
                <a:gd name="connsiteY2" fmla="*/ 1898088 h 3167738"/>
                <a:gd name="connsiteX3" fmla="*/ 640035 w 2010471"/>
                <a:gd name="connsiteY3" fmla="*/ 3163927 h 3167738"/>
                <a:gd name="connsiteX4" fmla="*/ 2010471 w 2010471"/>
                <a:gd name="connsiteY4" fmla="*/ 3167738 h 3167738"/>
                <a:gd name="connsiteX0" fmla="*/ 2009592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3383 w 2013383"/>
                <a:gd name="connsiteY0" fmla="*/ 1905 h 3167738"/>
                <a:gd name="connsiteX1" fmla="*/ 862825 w 2013383"/>
                <a:gd name="connsiteY1" fmla="*/ 0 h 3167738"/>
                <a:gd name="connsiteX2" fmla="*/ 0 w 2013383"/>
                <a:gd name="connsiteY2" fmla="*/ 1898088 h 3167738"/>
                <a:gd name="connsiteX3" fmla="*/ 641930 w 2013383"/>
                <a:gd name="connsiteY3" fmla="*/ 3167738 h 3167738"/>
                <a:gd name="connsiteX4" fmla="*/ 2010471 w 2013383"/>
                <a:gd name="connsiteY4" fmla="*/ 3167738 h 3167738"/>
                <a:gd name="connsiteX0" fmla="*/ 2011488 w 2011488"/>
                <a:gd name="connsiteY0" fmla="*/ 1905 h 3167738"/>
                <a:gd name="connsiteX1" fmla="*/ 862825 w 2011488"/>
                <a:gd name="connsiteY1" fmla="*/ 0 h 3167738"/>
                <a:gd name="connsiteX2" fmla="*/ 0 w 2011488"/>
                <a:gd name="connsiteY2" fmla="*/ 1898088 h 3167738"/>
                <a:gd name="connsiteX3" fmla="*/ 641930 w 2011488"/>
                <a:gd name="connsiteY3" fmla="*/ 3167738 h 3167738"/>
                <a:gd name="connsiteX4" fmla="*/ 2010471 w 2011488"/>
                <a:gd name="connsiteY4" fmla="*/ 3167738 h 3167738"/>
                <a:gd name="connsiteX0" fmla="*/ 2009593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1489 w 2011489"/>
                <a:gd name="connsiteY0" fmla="*/ 1905 h 3167738"/>
                <a:gd name="connsiteX1" fmla="*/ 862825 w 2011489"/>
                <a:gd name="connsiteY1" fmla="*/ 0 h 3167738"/>
                <a:gd name="connsiteX2" fmla="*/ 0 w 2011489"/>
                <a:gd name="connsiteY2" fmla="*/ 1898088 h 3167738"/>
                <a:gd name="connsiteX3" fmla="*/ 641930 w 2011489"/>
                <a:gd name="connsiteY3" fmla="*/ 3167738 h 3167738"/>
                <a:gd name="connsiteX4" fmla="*/ 2010471 w 2011489"/>
                <a:gd name="connsiteY4" fmla="*/ 3167738 h 3167738"/>
                <a:gd name="connsiteX0" fmla="*/ 2009594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09594 w 2009594"/>
                <a:gd name="connsiteY0" fmla="*/ 1905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9643"/>
                <a:gd name="connsiteX1" fmla="*/ 862825 w 2009594"/>
                <a:gd name="connsiteY1" fmla="*/ 1905 h 3169643"/>
                <a:gd name="connsiteX2" fmla="*/ 0 w 2009594"/>
                <a:gd name="connsiteY2" fmla="*/ 1899993 h 3169643"/>
                <a:gd name="connsiteX3" fmla="*/ 641930 w 2009594"/>
                <a:gd name="connsiteY3" fmla="*/ 3169643 h 3169643"/>
                <a:gd name="connsiteX4" fmla="*/ 2008576 w 2009594"/>
                <a:gd name="connsiteY4" fmla="*/ 3169643 h 3169643"/>
                <a:gd name="connsiteX0" fmla="*/ 2009594 w 2009594"/>
                <a:gd name="connsiteY0" fmla="*/ 0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1905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5833"/>
                <a:gd name="connsiteX1" fmla="*/ 860930 w 2009594"/>
                <a:gd name="connsiteY1" fmla="*/ 0 h 3165833"/>
                <a:gd name="connsiteX2" fmla="*/ 0 w 2009594"/>
                <a:gd name="connsiteY2" fmla="*/ 1896183 h 3165833"/>
                <a:gd name="connsiteX3" fmla="*/ 641930 w 2009594"/>
                <a:gd name="connsiteY3" fmla="*/ 3165833 h 3165833"/>
                <a:gd name="connsiteX4" fmla="*/ 2008576 w 2009594"/>
                <a:gd name="connsiteY4" fmla="*/ 3165833 h 316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594" h="3165833">
                  <a:moveTo>
                    <a:pt x="2009594" y="0"/>
                  </a:moveTo>
                  <a:lnTo>
                    <a:pt x="860930" y="0"/>
                  </a:lnTo>
                  <a:lnTo>
                    <a:pt x="0" y="1896183"/>
                  </a:lnTo>
                  <a:lnTo>
                    <a:pt x="641930" y="3165833"/>
                  </a:lnTo>
                  <a:lnTo>
                    <a:pt x="2008576" y="3165833"/>
                  </a:lnTo>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29" name="Volný tvar 28"/>
            <p:cNvSpPr/>
            <p:nvPr userDrawn="1"/>
          </p:nvSpPr>
          <p:spPr>
            <a:xfrm>
              <a:off x="9316886" y="3164324"/>
              <a:ext cx="1375107" cy="2704206"/>
            </a:xfrm>
            <a:custGeom>
              <a:avLst/>
              <a:gdLst>
                <a:gd name="connsiteX0" fmla="*/ 1134533 w 1134533"/>
                <a:gd name="connsiteY0" fmla="*/ 0 h 2243667"/>
                <a:gd name="connsiteX1" fmla="*/ 1134533 w 1134533"/>
                <a:gd name="connsiteY1" fmla="*/ 2243667 h 2243667"/>
                <a:gd name="connsiteX2" fmla="*/ 0 w 1134533"/>
                <a:gd name="connsiteY2" fmla="*/ 0 h 2243667"/>
                <a:gd name="connsiteX0" fmla="*/ 1134533 w 1138298"/>
                <a:gd name="connsiteY0" fmla="*/ 0 h 3398339"/>
                <a:gd name="connsiteX1" fmla="*/ 1138298 w 1138298"/>
                <a:gd name="connsiteY1" fmla="*/ 3398339 h 3398339"/>
                <a:gd name="connsiteX2" fmla="*/ 0 w 1138298"/>
                <a:gd name="connsiteY2" fmla="*/ 0 h 3398339"/>
                <a:gd name="connsiteX0" fmla="*/ 1134533 w 1138298"/>
                <a:gd name="connsiteY0" fmla="*/ 693566 h 3398339"/>
                <a:gd name="connsiteX1" fmla="*/ 1138298 w 1138298"/>
                <a:gd name="connsiteY1" fmla="*/ 3398339 h 3398339"/>
                <a:gd name="connsiteX2" fmla="*/ 0 w 1138298"/>
                <a:gd name="connsiteY2" fmla="*/ 0 h 3398339"/>
                <a:gd name="connsiteX0" fmla="*/ 1356642 w 1360407"/>
                <a:gd name="connsiteY0" fmla="*/ 0 h 2704773"/>
                <a:gd name="connsiteX1" fmla="*/ 1360407 w 1360407"/>
                <a:gd name="connsiteY1" fmla="*/ 2704773 h 2704773"/>
                <a:gd name="connsiteX2" fmla="*/ 0 w 1360407"/>
                <a:gd name="connsiteY2" fmla="*/ 0 h 2704773"/>
                <a:gd name="connsiteX0" fmla="*/ 1356642 w 1358525"/>
                <a:gd name="connsiteY0" fmla="*/ 0 h 2704773"/>
                <a:gd name="connsiteX1" fmla="*/ 1358525 w 1358525"/>
                <a:gd name="connsiteY1" fmla="*/ 2704773 h 2704773"/>
                <a:gd name="connsiteX2" fmla="*/ 0 w 1358525"/>
                <a:gd name="connsiteY2" fmla="*/ 0 h 2704773"/>
                <a:gd name="connsiteX0" fmla="*/ 1358524 w 1358705"/>
                <a:gd name="connsiteY0" fmla="*/ 0 h 2704773"/>
                <a:gd name="connsiteX1" fmla="*/ 1358525 w 1358705"/>
                <a:gd name="connsiteY1" fmla="*/ 2704773 h 2704773"/>
                <a:gd name="connsiteX2" fmla="*/ 0 w 1358705"/>
                <a:gd name="connsiteY2" fmla="*/ 0 h 2704773"/>
                <a:gd name="connsiteX0" fmla="*/ 1360406 w 1360587"/>
                <a:gd name="connsiteY0" fmla="*/ 0 h 2704773"/>
                <a:gd name="connsiteX1" fmla="*/ 1360407 w 1360587"/>
                <a:gd name="connsiteY1" fmla="*/ 2704773 h 2704773"/>
                <a:gd name="connsiteX2" fmla="*/ 0 w 1360587"/>
                <a:gd name="connsiteY2" fmla="*/ 0 h 2704773"/>
                <a:gd name="connsiteX0" fmla="*/ 1358524 w 1360407"/>
                <a:gd name="connsiteY0" fmla="*/ 0 h 2704773"/>
                <a:gd name="connsiteX1" fmla="*/ 1360407 w 1360407"/>
                <a:gd name="connsiteY1" fmla="*/ 2704773 h 2704773"/>
                <a:gd name="connsiteX2" fmla="*/ 0 w 1360407"/>
                <a:gd name="connsiteY2" fmla="*/ 0 h 2704773"/>
                <a:gd name="connsiteX0" fmla="*/ 1358524 w 1358705"/>
                <a:gd name="connsiteY0" fmla="*/ 0 h 2704773"/>
                <a:gd name="connsiteX1" fmla="*/ 1358525 w 1358705"/>
                <a:gd name="connsiteY1" fmla="*/ 2704773 h 2704773"/>
                <a:gd name="connsiteX2" fmla="*/ 0 w 1358705"/>
                <a:gd name="connsiteY2" fmla="*/ 0 h 2704773"/>
              </a:gdLst>
              <a:ahLst/>
              <a:cxnLst>
                <a:cxn ang="0">
                  <a:pos x="connsiteX0" y="connsiteY0"/>
                </a:cxn>
                <a:cxn ang="0">
                  <a:pos x="connsiteX1" y="connsiteY1"/>
                </a:cxn>
                <a:cxn ang="0">
                  <a:pos x="connsiteX2" y="connsiteY2"/>
                </a:cxn>
              </a:cxnLst>
              <a:rect l="l" t="t" r="r" b="b"/>
              <a:pathLst>
                <a:path w="1358705" h="2704773">
                  <a:moveTo>
                    <a:pt x="1358524" y="0"/>
                  </a:moveTo>
                  <a:cubicBezTo>
                    <a:pt x="1359152" y="901591"/>
                    <a:pt x="1357897" y="1803182"/>
                    <a:pt x="1358525" y="2704773"/>
                  </a:cubicBezTo>
                  <a:cubicBezTo>
                    <a:pt x="980347" y="1956884"/>
                    <a:pt x="378178" y="747889"/>
                    <a:pt x="0" y="0"/>
                  </a:cubicBezTo>
                </a:path>
              </a:pathLst>
            </a:custGeom>
            <a:gradFill>
              <a:gsLst>
                <a:gs pos="0">
                  <a:schemeClr val="bg1"/>
                </a:gs>
                <a:gs pos="100000">
                  <a:schemeClr val="bg1">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0" name="Volný tvar 29"/>
            <p:cNvSpPr/>
            <p:nvPr userDrawn="1"/>
          </p:nvSpPr>
          <p:spPr>
            <a:xfrm>
              <a:off x="2381428" y="0"/>
              <a:ext cx="7155030" cy="1892480"/>
            </a:xfrm>
            <a:custGeom>
              <a:avLst/>
              <a:gdLst>
                <a:gd name="connsiteX0" fmla="*/ 7442200 w 8144934"/>
                <a:gd name="connsiteY0" fmla="*/ 1540934 h 1540934"/>
                <a:gd name="connsiteX1" fmla="*/ 8144934 w 8144934"/>
                <a:gd name="connsiteY1" fmla="*/ 0 h 1540934"/>
                <a:gd name="connsiteX2" fmla="*/ 0 w 8144934"/>
                <a:gd name="connsiteY2" fmla="*/ 0 h 1540934"/>
                <a:gd name="connsiteX0" fmla="*/ 7438390 w 8144934"/>
                <a:gd name="connsiteY0" fmla="*/ 1540934 h 1540934"/>
                <a:gd name="connsiteX1" fmla="*/ 8144934 w 8144934"/>
                <a:gd name="connsiteY1" fmla="*/ 0 h 1540934"/>
                <a:gd name="connsiteX2" fmla="*/ 0 w 8144934"/>
                <a:gd name="connsiteY2" fmla="*/ 0 h 1540934"/>
                <a:gd name="connsiteX0" fmla="*/ 7032565 w 8144934"/>
                <a:gd name="connsiteY0" fmla="*/ 1882340 h 1882340"/>
                <a:gd name="connsiteX1" fmla="*/ 8144934 w 8144934"/>
                <a:gd name="connsiteY1" fmla="*/ 0 h 1882340"/>
                <a:gd name="connsiteX2" fmla="*/ 0 w 8144934"/>
                <a:gd name="connsiteY2" fmla="*/ 0 h 1882340"/>
                <a:gd name="connsiteX0" fmla="*/ 7030660 w 8144934"/>
                <a:gd name="connsiteY0" fmla="*/ 1882340 h 1882340"/>
                <a:gd name="connsiteX1" fmla="*/ 8144934 w 8144934"/>
                <a:gd name="connsiteY1" fmla="*/ 0 h 1882340"/>
                <a:gd name="connsiteX2" fmla="*/ 0 w 8144934"/>
                <a:gd name="connsiteY2" fmla="*/ 0 h 1882340"/>
                <a:gd name="connsiteX0" fmla="*/ 7030660 w 7895342"/>
                <a:gd name="connsiteY0" fmla="*/ 1882340 h 1882340"/>
                <a:gd name="connsiteX1" fmla="*/ 7895342 w 7895342"/>
                <a:gd name="connsiteY1" fmla="*/ 0 h 1882340"/>
                <a:gd name="connsiteX2" fmla="*/ 0 w 7895342"/>
                <a:gd name="connsiteY2" fmla="*/ 0 h 1882340"/>
                <a:gd name="connsiteX0" fmla="*/ 6272357 w 7137039"/>
                <a:gd name="connsiteY0" fmla="*/ 1884237 h 1884237"/>
                <a:gd name="connsiteX1" fmla="*/ 7137039 w 7137039"/>
                <a:gd name="connsiteY1" fmla="*/ 1897 h 1884237"/>
                <a:gd name="connsiteX2" fmla="*/ 0 w 7137039"/>
                <a:gd name="connsiteY2" fmla="*/ 0 h 1884237"/>
                <a:gd name="connsiteX0" fmla="*/ 6276168 w 7137039"/>
                <a:gd name="connsiteY0" fmla="*/ 1882340 h 1882340"/>
                <a:gd name="connsiteX1" fmla="*/ 7137039 w 7137039"/>
                <a:gd name="connsiteY1" fmla="*/ 1897 h 1882340"/>
                <a:gd name="connsiteX2" fmla="*/ 0 w 7137039"/>
                <a:gd name="connsiteY2" fmla="*/ 0 h 1882340"/>
                <a:gd name="connsiteX0" fmla="*/ 6276168 w 7137039"/>
                <a:gd name="connsiteY0" fmla="*/ 1886133 h 1886133"/>
                <a:gd name="connsiteX1" fmla="*/ 7137039 w 7137039"/>
                <a:gd name="connsiteY1" fmla="*/ 1897 h 1886133"/>
                <a:gd name="connsiteX2" fmla="*/ 0 w 7137039"/>
                <a:gd name="connsiteY2" fmla="*/ 0 h 1886133"/>
                <a:gd name="connsiteX0" fmla="*/ 6291410 w 7152281"/>
                <a:gd name="connsiteY0" fmla="*/ 1884236 h 1884236"/>
                <a:gd name="connsiteX1" fmla="*/ 7152281 w 7152281"/>
                <a:gd name="connsiteY1" fmla="*/ 0 h 1884236"/>
                <a:gd name="connsiteX2" fmla="*/ 0 w 7152281"/>
                <a:gd name="connsiteY2" fmla="*/ 0 h 1884236"/>
                <a:gd name="connsiteX0" fmla="*/ 6293315 w 7154186"/>
                <a:gd name="connsiteY0" fmla="*/ 1884236 h 1884236"/>
                <a:gd name="connsiteX1" fmla="*/ 7154186 w 7154186"/>
                <a:gd name="connsiteY1" fmla="*/ 0 h 1884236"/>
                <a:gd name="connsiteX2" fmla="*/ 0 w 7154186"/>
                <a:gd name="connsiteY2" fmla="*/ 0 h 1884236"/>
                <a:gd name="connsiteX0" fmla="*/ 6295220 w 7156091"/>
                <a:gd name="connsiteY0" fmla="*/ 1884236 h 1884236"/>
                <a:gd name="connsiteX1" fmla="*/ 7156091 w 7156091"/>
                <a:gd name="connsiteY1" fmla="*/ 0 h 1884236"/>
                <a:gd name="connsiteX2" fmla="*/ 0 w 7156091"/>
                <a:gd name="connsiteY2" fmla="*/ 0 h 1884236"/>
              </a:gdLst>
              <a:ahLst/>
              <a:cxnLst>
                <a:cxn ang="0">
                  <a:pos x="connsiteX0" y="connsiteY0"/>
                </a:cxn>
                <a:cxn ang="0">
                  <a:pos x="connsiteX1" y="connsiteY1"/>
                </a:cxn>
                <a:cxn ang="0">
                  <a:pos x="connsiteX2" y="connsiteY2"/>
                </a:cxn>
              </a:cxnLst>
              <a:rect l="l" t="t" r="r" b="b"/>
              <a:pathLst>
                <a:path w="7156091" h="1884236">
                  <a:moveTo>
                    <a:pt x="6295220" y="1884236"/>
                  </a:moveTo>
                  <a:lnTo>
                    <a:pt x="7156091" y="0"/>
                  </a:lnTo>
                  <a:lnTo>
                    <a:pt x="0" y="0"/>
                  </a:lnTo>
                </a:path>
              </a:pathLst>
            </a:custGeom>
            <a:solidFill>
              <a:schemeClr val="tx1">
                <a:lumMod val="50000"/>
                <a:lumOff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1" name="Volný tvar 30"/>
            <p:cNvSpPr/>
            <p:nvPr userDrawn="1"/>
          </p:nvSpPr>
          <p:spPr>
            <a:xfrm>
              <a:off x="-1" y="-1905"/>
              <a:ext cx="8678465" cy="4438313"/>
            </a:xfrm>
            <a:custGeom>
              <a:avLst/>
              <a:gdLst>
                <a:gd name="connsiteX0" fmla="*/ 9084733 w 9084733"/>
                <a:gd name="connsiteY0" fmla="*/ 1549400 h 3623734"/>
                <a:gd name="connsiteX1" fmla="*/ 1659466 w 9084733"/>
                <a:gd name="connsiteY1" fmla="*/ 0 h 3623734"/>
                <a:gd name="connsiteX2" fmla="*/ 0 w 9084733"/>
                <a:gd name="connsiteY2" fmla="*/ 0 h 3623734"/>
                <a:gd name="connsiteX3" fmla="*/ 0 w 9084733"/>
                <a:gd name="connsiteY3" fmla="*/ 3623734 h 3623734"/>
                <a:gd name="connsiteX0" fmla="*/ 9071408 w 9071408"/>
                <a:gd name="connsiteY0" fmla="*/ 1547495 h 3623734"/>
                <a:gd name="connsiteX1" fmla="*/ 1659466 w 9071408"/>
                <a:gd name="connsiteY1" fmla="*/ 0 h 3623734"/>
                <a:gd name="connsiteX2" fmla="*/ 0 w 9071408"/>
                <a:gd name="connsiteY2" fmla="*/ 0 h 3623734"/>
                <a:gd name="connsiteX3" fmla="*/ 0 w 9071408"/>
                <a:gd name="connsiteY3" fmla="*/ 3623734 h 3623734"/>
                <a:gd name="connsiteX0" fmla="*/ 9073312 w 9073312"/>
                <a:gd name="connsiteY0" fmla="*/ 1547495 h 4437340"/>
                <a:gd name="connsiteX1" fmla="*/ 1661370 w 9073312"/>
                <a:gd name="connsiteY1" fmla="*/ 0 h 4437340"/>
                <a:gd name="connsiteX2" fmla="*/ 1904 w 9073312"/>
                <a:gd name="connsiteY2" fmla="*/ 0 h 4437340"/>
                <a:gd name="connsiteX3" fmla="*/ 0 w 9073312"/>
                <a:gd name="connsiteY3" fmla="*/ 4437340 h 4437340"/>
                <a:gd name="connsiteX0" fmla="*/ 9071408 w 9071408"/>
                <a:gd name="connsiteY0" fmla="*/ 1547495 h 4437340"/>
                <a:gd name="connsiteX1" fmla="*/ 1659466 w 9071408"/>
                <a:gd name="connsiteY1" fmla="*/ 0 h 4437340"/>
                <a:gd name="connsiteX2" fmla="*/ 0 w 9071408"/>
                <a:gd name="connsiteY2" fmla="*/ 0 h 4437340"/>
                <a:gd name="connsiteX3" fmla="*/ 0 w 9071408"/>
                <a:gd name="connsiteY3" fmla="*/ 4437340 h 4437340"/>
                <a:gd name="connsiteX0" fmla="*/ 8667864 w 8667864"/>
                <a:gd name="connsiteY0" fmla="*/ 1894278 h 4437340"/>
                <a:gd name="connsiteX1" fmla="*/ 1659466 w 8667864"/>
                <a:gd name="connsiteY1" fmla="*/ 0 h 4437340"/>
                <a:gd name="connsiteX2" fmla="*/ 0 w 8667864"/>
                <a:gd name="connsiteY2" fmla="*/ 0 h 4437340"/>
                <a:gd name="connsiteX3" fmla="*/ 0 w 8667864"/>
                <a:gd name="connsiteY3" fmla="*/ 4437340 h 4437340"/>
                <a:gd name="connsiteX0" fmla="*/ 8667864 w 8667864"/>
                <a:gd name="connsiteY0" fmla="*/ 1896183 h 4439245"/>
                <a:gd name="connsiteX1" fmla="*/ 2373282 w 8667864"/>
                <a:gd name="connsiteY1" fmla="*/ 0 h 4439245"/>
                <a:gd name="connsiteX2" fmla="*/ 0 w 8667864"/>
                <a:gd name="connsiteY2" fmla="*/ 1905 h 4439245"/>
                <a:gd name="connsiteX3" fmla="*/ 0 w 8667864"/>
                <a:gd name="connsiteY3" fmla="*/ 4439245 h 4439245"/>
                <a:gd name="connsiteX0" fmla="*/ 8671671 w 8671671"/>
                <a:gd name="connsiteY0" fmla="*/ 1894278 h 4439245"/>
                <a:gd name="connsiteX1" fmla="*/ 2373282 w 8671671"/>
                <a:gd name="connsiteY1" fmla="*/ 0 h 4439245"/>
                <a:gd name="connsiteX2" fmla="*/ 0 w 8671671"/>
                <a:gd name="connsiteY2" fmla="*/ 1905 h 4439245"/>
                <a:gd name="connsiteX3" fmla="*/ 0 w 8671671"/>
                <a:gd name="connsiteY3" fmla="*/ 4439245 h 4439245"/>
              </a:gdLst>
              <a:ahLst/>
              <a:cxnLst>
                <a:cxn ang="0">
                  <a:pos x="connsiteX0" y="connsiteY0"/>
                </a:cxn>
                <a:cxn ang="0">
                  <a:pos x="connsiteX1" y="connsiteY1"/>
                </a:cxn>
                <a:cxn ang="0">
                  <a:pos x="connsiteX2" y="connsiteY2"/>
                </a:cxn>
                <a:cxn ang="0">
                  <a:pos x="connsiteX3" y="connsiteY3"/>
                </a:cxn>
              </a:cxnLst>
              <a:rect l="l" t="t" r="r" b="b"/>
              <a:pathLst>
                <a:path w="8671671" h="4439245">
                  <a:moveTo>
                    <a:pt x="8671671" y="1894278"/>
                  </a:moveTo>
                  <a:lnTo>
                    <a:pt x="2373282" y="0"/>
                  </a:lnTo>
                  <a:lnTo>
                    <a:pt x="0" y="1905"/>
                  </a:lnTo>
                  <a:lnTo>
                    <a:pt x="0" y="4439245"/>
                  </a:lnTo>
                </a:path>
              </a:pathLst>
            </a:custGeom>
            <a:solidFill>
              <a:schemeClr val="tx1">
                <a:lumMod val="50000"/>
                <a:lumOff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pic>
          <p:nvPicPr>
            <p:cNvPr id="32" name="Obrázek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19849" y="1054894"/>
              <a:ext cx="1224000" cy="1622866"/>
            </a:xfrm>
            <a:prstGeom prst="rect">
              <a:avLst/>
            </a:prstGeom>
          </p:spPr>
        </p:pic>
      </p:grpSp>
      <p:graphicFrame>
        <p:nvGraphicFramePr>
          <p:cNvPr id="3" name="Objek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99" imgH="398" progId="TCLayout.ActiveDocument.1">
                  <p:embed/>
                </p:oleObj>
              </mc:Choice>
              <mc:Fallback>
                <p:oleObj name="think-cell Slide" r:id="rId5" imgW="399" imgH="398" progId="TCLayout.ActiveDocument.1">
                  <p:embed/>
                  <p:pic>
                    <p:nvPicPr>
                      <p:cNvPr id="3" name="Objekt 2"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Nadpis 6"/>
          <p:cNvSpPr>
            <a:spLocks noGrp="1"/>
          </p:cNvSpPr>
          <p:nvPr>
            <p:ph type="title" hasCustomPrompt="1"/>
          </p:nvPr>
        </p:nvSpPr>
        <p:spPr>
          <a:xfrm>
            <a:off x="342848" y="1638000"/>
            <a:ext cx="8278865" cy="540000"/>
          </a:xfrm>
        </p:spPr>
        <p:txBody>
          <a:bodyPr anchor="t" anchorCtr="0">
            <a:noAutofit/>
          </a:bodyPr>
          <a:lstStyle>
            <a:lvl1pPr>
              <a:lnSpc>
                <a:spcPts val="4400"/>
              </a:lnSpc>
              <a:defRPr sz="3600" cap="all" baseline="0">
                <a:solidFill>
                  <a:schemeClr val="tx1"/>
                </a:solidFill>
                <a:latin typeface="SKODA Next" panose="020B0504020603020204" pitchFamily="34" charset="0"/>
              </a:defRPr>
            </a:lvl1pPr>
          </a:lstStyle>
          <a:p>
            <a:r>
              <a:rPr lang="cs-CZ" noProof="0" dirty="0"/>
              <a:t>Název prezentace</a:t>
            </a:r>
          </a:p>
        </p:txBody>
      </p:sp>
      <p:sp>
        <p:nvSpPr>
          <p:cNvPr id="15" name="Zástupný symbol pro text 14"/>
          <p:cNvSpPr>
            <a:spLocks noGrp="1"/>
          </p:cNvSpPr>
          <p:nvPr>
            <p:ph type="body" sz="quarter" idx="13" hasCustomPrompt="1"/>
          </p:nvPr>
        </p:nvSpPr>
        <p:spPr>
          <a:xfrm>
            <a:off x="341948" y="5506843"/>
            <a:ext cx="5183231" cy="323932"/>
          </a:xfrm>
        </p:spPr>
        <p:txBody>
          <a:bodyPr vert="horz" lIns="0" tIns="0" rIns="0" bIns="0" rtlCol="0" anchor="b" anchorCtr="0">
            <a:noAutofit/>
          </a:bodyPr>
          <a:lstStyle>
            <a:lvl1pPr marL="180000" indent="-180000">
              <a:buFont typeface="Wingdings" panose="05000000000000000000" pitchFamily="2" charset="2"/>
              <a:buNone/>
              <a:defRPr lang="cs-CZ" sz="2000" noProof="0" dirty="0">
                <a:effectLst>
                  <a:glow rad="254000">
                    <a:schemeClr val="bg1">
                      <a:alpha val="34000"/>
                    </a:schemeClr>
                  </a:glow>
                </a:effectLst>
              </a:defRPr>
            </a:lvl1pPr>
          </a:lstStyle>
          <a:p>
            <a:pPr marL="0" lvl="0" indent="0">
              <a:lnSpc>
                <a:spcPts val="2400"/>
              </a:lnSpc>
            </a:pPr>
            <a:r>
              <a:rPr lang="cs-CZ" noProof="0" dirty="0"/>
              <a:t>Jméno</a:t>
            </a:r>
          </a:p>
        </p:txBody>
      </p:sp>
      <p:sp>
        <p:nvSpPr>
          <p:cNvPr id="17" name="Zástupný symbol pro text 16"/>
          <p:cNvSpPr>
            <a:spLocks noGrp="1"/>
          </p:cNvSpPr>
          <p:nvPr>
            <p:ph type="body" sz="quarter" idx="14" hasCustomPrompt="1"/>
          </p:nvPr>
        </p:nvSpPr>
        <p:spPr>
          <a:xfrm>
            <a:off x="341948" y="6298677"/>
            <a:ext cx="5183231" cy="323932"/>
          </a:xfrm>
        </p:spPr>
        <p:txBody>
          <a:bodyPr vert="horz" lIns="0" tIns="0" rIns="0" bIns="0" rtlCol="0" anchor="b" anchorCtr="0">
            <a:noAutofit/>
          </a:bodyPr>
          <a:lstStyle>
            <a:lvl1pPr marL="180000" indent="-180000">
              <a:buFont typeface="Wingdings" panose="05000000000000000000" pitchFamily="2" charset="2"/>
              <a:buNone/>
              <a:defRPr lang="cs-CZ" sz="2000" noProof="0" dirty="0">
                <a:effectLst>
                  <a:glow rad="254000">
                    <a:schemeClr val="bg1">
                      <a:alpha val="34000"/>
                    </a:schemeClr>
                  </a:glow>
                </a:effectLst>
              </a:defRPr>
            </a:lvl1pPr>
          </a:lstStyle>
          <a:p>
            <a:pPr marL="0" lvl="0" indent="0">
              <a:lnSpc>
                <a:spcPts val="2400"/>
              </a:lnSpc>
            </a:pPr>
            <a:r>
              <a:rPr lang="cs-CZ" sz="2000" noProof="0" dirty="0"/>
              <a:t>XX.XX.2017</a:t>
            </a:r>
            <a:endParaRPr lang="cs-CZ" noProof="0" dirty="0"/>
          </a:p>
        </p:txBody>
      </p:sp>
      <p:sp>
        <p:nvSpPr>
          <p:cNvPr id="19" name="Zástupný symbol pro text 18"/>
          <p:cNvSpPr>
            <a:spLocks noGrp="1"/>
          </p:cNvSpPr>
          <p:nvPr>
            <p:ph type="body" sz="quarter" idx="15" hasCustomPrompt="1"/>
          </p:nvPr>
        </p:nvSpPr>
        <p:spPr>
          <a:xfrm>
            <a:off x="342849" y="2358000"/>
            <a:ext cx="6550641" cy="719849"/>
          </a:xfrm>
        </p:spPr>
        <p:txBody>
          <a:bodyPr>
            <a:noAutofit/>
          </a:bodyPr>
          <a:lstStyle>
            <a:lvl1pPr marL="0" indent="0">
              <a:lnSpc>
                <a:spcPts val="2400"/>
              </a:lnSpc>
              <a:buFont typeface="Arial" panose="020B0604020202020204" pitchFamily="34" charset="0"/>
              <a:buNone/>
              <a:defRPr sz="2000">
                <a:solidFill>
                  <a:schemeClr val="tx1"/>
                </a:solidFill>
                <a:latin typeface="SKODA Next" panose="020B0504020603020204" pitchFamily="34" charset="0"/>
              </a:defRPr>
            </a:lvl1pPr>
          </a:lstStyle>
          <a:p>
            <a:pPr lvl="0"/>
            <a:r>
              <a:rPr lang="cs-CZ" noProof="0" dirty="0"/>
              <a:t>Dodatečné informace</a:t>
            </a:r>
          </a:p>
        </p:txBody>
      </p:sp>
      <p:sp>
        <p:nvSpPr>
          <p:cNvPr id="21" name="Zástupný symbol pro text 20"/>
          <p:cNvSpPr>
            <a:spLocks noGrp="1"/>
          </p:cNvSpPr>
          <p:nvPr>
            <p:ph type="body" sz="quarter" idx="16" hasCustomPrompt="1"/>
          </p:nvPr>
        </p:nvSpPr>
        <p:spPr>
          <a:xfrm>
            <a:off x="341949" y="5902760"/>
            <a:ext cx="5183231" cy="323932"/>
          </a:xfrm>
        </p:spPr>
        <p:txBody>
          <a:bodyPr vert="horz" lIns="0" tIns="0" rIns="0" bIns="0" rtlCol="0" anchor="b" anchorCtr="0">
            <a:noAutofit/>
          </a:bodyPr>
          <a:lstStyle>
            <a:lvl1pPr marL="180000" indent="-180000">
              <a:buFont typeface="Wingdings" panose="05000000000000000000" pitchFamily="2" charset="2"/>
              <a:buNone/>
              <a:defRPr lang="cs-CZ" sz="2000" noProof="0" dirty="0">
                <a:effectLst>
                  <a:glow rad="254000">
                    <a:schemeClr val="bg1">
                      <a:alpha val="34000"/>
                    </a:schemeClr>
                  </a:glow>
                </a:effectLst>
              </a:defRPr>
            </a:lvl1pPr>
          </a:lstStyle>
          <a:p>
            <a:pPr marL="0" lvl="0" indent="0">
              <a:lnSpc>
                <a:spcPts val="2400"/>
              </a:lnSpc>
            </a:pPr>
            <a:r>
              <a:rPr lang="cs-CZ" noProof="0" dirty="0"/>
              <a:t>Oddělení</a:t>
            </a:r>
          </a:p>
        </p:txBody>
      </p:sp>
      <p:sp>
        <p:nvSpPr>
          <p:cNvPr id="16" name="Zástupný symbol pro číslo snímku 5"/>
          <p:cNvSpPr>
            <a:spLocks noGrp="1"/>
          </p:cNvSpPr>
          <p:nvPr>
            <p:ph type="sldNum" sz="quarter" idx="10"/>
          </p:nvPr>
        </p:nvSpPr>
        <p:spPr>
          <a:xfrm>
            <a:off x="342849" y="7162496"/>
            <a:ext cx="269960" cy="179962"/>
          </a:xfrm>
        </p:spPr>
        <p:txBody>
          <a:bodyPr/>
          <a:lstStyle>
            <a:lvl1pPr>
              <a:defRPr>
                <a:noFill/>
                <a:latin typeface="SKODA Next" panose="020B0504020603020204" pitchFamily="34" charset="0"/>
              </a:defRPr>
            </a:lvl1pPr>
          </a:lstStyle>
          <a:p>
            <a:fld id="{1E956721-BB38-4972-8ACD-5A2C9377E3B4}" type="slidenum">
              <a:rPr lang="cs-CZ" smtClean="0"/>
              <a:pPr/>
              <a:t>‹#›</a:t>
            </a:fld>
            <a:endParaRPr lang="cs-CZ" dirty="0"/>
          </a:p>
        </p:txBody>
      </p:sp>
      <p:sp>
        <p:nvSpPr>
          <p:cNvPr id="22" name="Zástupný symbol pro zápatí 6"/>
          <p:cNvSpPr>
            <a:spLocks noGrp="1"/>
          </p:cNvSpPr>
          <p:nvPr>
            <p:ph type="ftr" sz="quarter" idx="11"/>
          </p:nvPr>
        </p:nvSpPr>
        <p:spPr>
          <a:xfrm>
            <a:off x="719894" y="7162496"/>
            <a:ext cx="6173596" cy="179962"/>
          </a:xfrm>
        </p:spPr>
        <p:txBody>
          <a:bodyPr/>
          <a:lstStyle>
            <a:lvl1pPr>
              <a:defRPr>
                <a:noFill/>
                <a:latin typeface="SKODA Next" panose="020B0504020603020204" pitchFamily="34" charset="0"/>
              </a:defRPr>
            </a:lvl1pPr>
          </a:lstStyle>
          <a:p>
            <a:endParaRPr lang="cs-CZ" dirty="0"/>
          </a:p>
        </p:txBody>
      </p:sp>
      <p:sp>
        <p:nvSpPr>
          <p:cNvPr id="18" name="TextovéPole 17"/>
          <p:cNvSpPr txBox="1"/>
          <p:nvPr userDrawn="1"/>
        </p:nvSpPr>
        <p:spPr>
          <a:xfrm>
            <a:off x="9720000" y="7358802"/>
            <a:ext cx="720000" cy="108000"/>
          </a:xfrm>
          <a:prstGeom prst="rect">
            <a:avLst/>
          </a:prstGeom>
          <a:noFill/>
        </p:spPr>
        <p:txBody>
          <a:bodyPr wrap="square" lIns="0" tIns="0" rIns="0" bIns="0" rtlCol="0" anchor="b" anchorCtr="0">
            <a:normAutofit/>
          </a:bodyPr>
          <a:lstStyle/>
          <a:p>
            <a:pPr algn="r"/>
            <a:r>
              <a:rPr lang="en-GB" sz="700" b="1" noProof="0" dirty="0">
                <a:effectLst>
                  <a:glow rad="254000">
                    <a:schemeClr val="bg1">
                      <a:alpha val="34000"/>
                    </a:schemeClr>
                  </a:glow>
                </a:effectLst>
                <a:latin typeface="SKODA Next" panose="020B0504020603020204" pitchFamily="34" charset="0"/>
                <a:cs typeface="Arial" panose="020B0604020202020204" pitchFamily="34" charset="0"/>
              </a:rPr>
              <a:t>CONFIDENTIAL</a:t>
            </a:r>
          </a:p>
        </p:txBody>
      </p:sp>
    </p:spTree>
    <p:extLst>
      <p:ext uri="{BB962C8B-B14F-4D97-AF65-F5344CB8AC3E}">
        <p14:creationId xmlns:p14="http://schemas.microsoft.com/office/powerpoint/2010/main" val="8146547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ext Chapter">
    <p:spTree>
      <p:nvGrpSpPr>
        <p:cNvPr id="1" name=""/>
        <p:cNvGrpSpPr/>
        <p:nvPr/>
      </p:nvGrpSpPr>
      <p:grpSpPr>
        <a:xfrm>
          <a:off x="0" y="0"/>
          <a:ext cx="0" cy="0"/>
          <a:chOff x="0" y="0"/>
          <a:chExt cx="0" cy="0"/>
        </a:xfrm>
      </p:grpSpPr>
      <p:sp>
        <p:nvSpPr>
          <p:cNvPr id="6" name="Zástupný symbol pro číslo snímku 5"/>
          <p:cNvSpPr>
            <a:spLocks noGrp="1"/>
          </p:cNvSpPr>
          <p:nvPr>
            <p:ph type="sldNum" sz="quarter" idx="10"/>
          </p:nvPr>
        </p:nvSpPr>
        <p:spPr/>
        <p:txBody>
          <a:bodyPr/>
          <a:lstStyle>
            <a:lvl1pPr>
              <a:defRPr>
                <a:solidFill>
                  <a:schemeClr val="tx1"/>
                </a:solidFill>
                <a:latin typeface="SKODA Next" panose="020B0504020603020204" pitchFamily="34" charset="0"/>
              </a:defRPr>
            </a:lvl1pPr>
          </a:lstStyle>
          <a:p>
            <a:fld id="{1E956721-BB38-4972-8ACD-5A2C9377E3B4}" type="slidenum">
              <a:rPr lang="cs-CZ" smtClean="0"/>
              <a:pPr/>
              <a:t>‹#›</a:t>
            </a:fld>
            <a:endParaRPr lang="cs-CZ" dirty="0"/>
          </a:p>
        </p:txBody>
      </p:sp>
      <p:sp>
        <p:nvSpPr>
          <p:cNvPr id="7" name="Zástupný symbol pro zápatí 6"/>
          <p:cNvSpPr>
            <a:spLocks noGrp="1"/>
          </p:cNvSpPr>
          <p:nvPr>
            <p:ph type="ftr" sz="quarter" idx="11"/>
          </p:nvPr>
        </p:nvSpPr>
        <p:spPr/>
        <p:txBody>
          <a:bodyPr/>
          <a:lstStyle>
            <a:lvl1pPr>
              <a:defRPr>
                <a:solidFill>
                  <a:schemeClr val="tx1"/>
                </a:solidFill>
                <a:latin typeface="SKODA Next" panose="020B0504020603020204" pitchFamily="34" charset="0"/>
              </a:defRPr>
            </a:lvl1pPr>
          </a:lstStyle>
          <a:p>
            <a:endParaRPr lang="cs-CZ" dirty="0"/>
          </a:p>
        </p:txBody>
      </p:sp>
      <p:sp>
        <p:nvSpPr>
          <p:cNvPr id="10"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 name="Nadpis 2"/>
          <p:cNvSpPr>
            <a:spLocks noGrp="1"/>
          </p:cNvSpPr>
          <p:nvPr>
            <p:ph type="title" hasCustomPrompt="1"/>
          </p:nvPr>
        </p:nvSpPr>
        <p:spPr/>
        <p:txBody>
          <a:bodyPr/>
          <a:lstStyle>
            <a:lvl1pPr>
              <a:defRPr baseline="0"/>
            </a:lvl1pPr>
          </a:lstStyle>
          <a:p>
            <a:r>
              <a:rPr lang="cs-CZ" noProof="0" dirty="0"/>
              <a:t>Další kapitola</a:t>
            </a:r>
          </a:p>
        </p:txBody>
      </p:sp>
    </p:spTree>
    <p:extLst>
      <p:ext uri="{BB962C8B-B14F-4D97-AF65-F5344CB8AC3E}">
        <p14:creationId xmlns:p14="http://schemas.microsoft.com/office/powerpoint/2010/main" val="752776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104D5-F362-4F64-8D6D-AD3EF72BDC1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7410784-D582-4815-9745-AB96BFD17AA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3395F7F-9614-42AD-8DB3-3352BE2F48A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61126902-A038-4CEC-9777-7C84A0664A8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000E853-474C-4340-A016-21F764A6950F}"/>
              </a:ext>
            </a:extLst>
          </p:cNvPr>
          <p:cNvSpPr>
            <a:spLocks noGrp="1"/>
          </p:cNvSpPr>
          <p:nvPr>
            <p:ph type="sldNum" sz="quarter" idx="12"/>
          </p:nvPr>
        </p:nvSpPr>
        <p:spPr/>
        <p:txBody>
          <a:bodyPr/>
          <a:lstStyle/>
          <a:p>
            <a:fld id="{A662B3CB-E30B-451B-8500-BFF45B7F134A}" type="slidenum">
              <a:rPr lang="en-GB" smtClean="0"/>
              <a:t>‹#›</a:t>
            </a:fld>
            <a:endParaRPr lang="en-GB"/>
          </a:p>
        </p:txBody>
      </p:sp>
    </p:spTree>
    <p:extLst>
      <p:ext uri="{BB962C8B-B14F-4D97-AF65-F5344CB8AC3E}">
        <p14:creationId xmlns:p14="http://schemas.microsoft.com/office/powerpoint/2010/main" val="10580686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Dar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20" name="Skupina 19"/>
          <p:cNvGrpSpPr/>
          <p:nvPr userDrawn="1"/>
        </p:nvGrpSpPr>
        <p:grpSpPr>
          <a:xfrm>
            <a:off x="-1" y="-1905"/>
            <a:ext cx="10691994" cy="5870435"/>
            <a:chOff x="-1" y="-1905"/>
            <a:chExt cx="10691994" cy="5870435"/>
          </a:xfrm>
        </p:grpSpPr>
        <p:sp>
          <p:nvSpPr>
            <p:cNvPr id="28" name="Volný tvar 27"/>
            <p:cNvSpPr/>
            <p:nvPr userDrawn="1"/>
          </p:nvSpPr>
          <p:spPr>
            <a:xfrm>
              <a:off x="8671948" y="0"/>
              <a:ext cx="2019872" cy="3165168"/>
            </a:xfrm>
            <a:custGeom>
              <a:avLst/>
              <a:gdLst>
                <a:gd name="connsiteX0" fmla="*/ 1600200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5886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7782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9678 w 1609678"/>
                <a:gd name="connsiteY0" fmla="*/ 0 h 2472267"/>
                <a:gd name="connsiteX1" fmla="*/ 711200 w 1609678"/>
                <a:gd name="connsiteY1" fmla="*/ 0 h 2472267"/>
                <a:gd name="connsiteX2" fmla="*/ 0 w 1609678"/>
                <a:gd name="connsiteY2" fmla="*/ 1549400 h 2472267"/>
                <a:gd name="connsiteX3" fmla="*/ 465666 w 1609678"/>
                <a:gd name="connsiteY3" fmla="*/ 2472267 h 2472267"/>
                <a:gd name="connsiteX4" fmla="*/ 1608666 w 1609678"/>
                <a:gd name="connsiteY4" fmla="*/ 2472267 h 2472267"/>
                <a:gd name="connsiteX0" fmla="*/ 1609678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4 w 1611574"/>
                <a:gd name="connsiteY0" fmla="*/ 0 h 2472267"/>
                <a:gd name="connsiteX1" fmla="*/ 711200 w 1611574"/>
                <a:gd name="connsiteY1" fmla="*/ 0 h 2472267"/>
                <a:gd name="connsiteX2" fmla="*/ 0 w 1611574"/>
                <a:gd name="connsiteY2" fmla="*/ 1549400 h 2472267"/>
                <a:gd name="connsiteX3" fmla="*/ 465666 w 1611574"/>
                <a:gd name="connsiteY3" fmla="*/ 2472267 h 2472267"/>
                <a:gd name="connsiteX4" fmla="*/ 1610561 w 1611574"/>
                <a:gd name="connsiteY4" fmla="*/ 2472267 h 2472267"/>
                <a:gd name="connsiteX0" fmla="*/ 1609679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5 w 1611575"/>
                <a:gd name="connsiteY0" fmla="*/ 0 h 2472267"/>
                <a:gd name="connsiteX1" fmla="*/ 711200 w 1611575"/>
                <a:gd name="connsiteY1" fmla="*/ 0 h 2472267"/>
                <a:gd name="connsiteX2" fmla="*/ 0 w 1611575"/>
                <a:gd name="connsiteY2" fmla="*/ 1549400 h 2472267"/>
                <a:gd name="connsiteX3" fmla="*/ 465666 w 1611575"/>
                <a:gd name="connsiteY3" fmla="*/ 2472267 h 2472267"/>
                <a:gd name="connsiteX4" fmla="*/ 1610561 w 1611575"/>
                <a:gd name="connsiteY4" fmla="*/ 2472267 h 2472267"/>
                <a:gd name="connsiteX0" fmla="*/ 1609680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3995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9681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7 w 1611577"/>
                <a:gd name="connsiteY0" fmla="*/ 0 h 2472267"/>
                <a:gd name="connsiteX1" fmla="*/ 711200 w 1611577"/>
                <a:gd name="connsiteY1" fmla="*/ 0 h 2472267"/>
                <a:gd name="connsiteX2" fmla="*/ 0 w 1611577"/>
                <a:gd name="connsiteY2" fmla="*/ 1549400 h 2472267"/>
                <a:gd name="connsiteX3" fmla="*/ 465666 w 1611577"/>
                <a:gd name="connsiteY3" fmla="*/ 2472267 h 2472267"/>
                <a:gd name="connsiteX4" fmla="*/ 1610561 w 1611577"/>
                <a:gd name="connsiteY4" fmla="*/ 2472267 h 2472267"/>
                <a:gd name="connsiteX0" fmla="*/ 1609682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7787 w 1608666"/>
                <a:gd name="connsiteY0" fmla="*/ 0 h 2472267"/>
                <a:gd name="connsiteX1" fmla="*/ 709305 w 1608666"/>
                <a:gd name="connsiteY1" fmla="*/ 0 h 2472267"/>
                <a:gd name="connsiteX2" fmla="*/ 0 w 1608666"/>
                <a:gd name="connsiteY2" fmla="*/ 1549400 h 2472267"/>
                <a:gd name="connsiteX3" fmla="*/ 463771 w 1608666"/>
                <a:gd name="connsiteY3" fmla="*/ 2472267 h 2472267"/>
                <a:gd name="connsiteX4" fmla="*/ 1608666 w 1608666"/>
                <a:gd name="connsiteY4" fmla="*/ 2472267 h 2472267"/>
                <a:gd name="connsiteX0" fmla="*/ 1603996 w 1604875"/>
                <a:gd name="connsiteY0" fmla="*/ 0 h 2472267"/>
                <a:gd name="connsiteX1" fmla="*/ 705514 w 1604875"/>
                <a:gd name="connsiteY1" fmla="*/ 0 h 2472267"/>
                <a:gd name="connsiteX2" fmla="*/ 0 w 1604875"/>
                <a:gd name="connsiteY2" fmla="*/ 1549400 h 2472267"/>
                <a:gd name="connsiteX3" fmla="*/ 459980 w 1604875"/>
                <a:gd name="connsiteY3" fmla="*/ 2472267 h 2472267"/>
                <a:gd name="connsiteX4" fmla="*/ 1604875 w 1604875"/>
                <a:gd name="connsiteY4" fmla="*/ 2472267 h 2472267"/>
                <a:gd name="connsiteX0" fmla="*/ 1603996 w 1604875"/>
                <a:gd name="connsiteY0" fmla="*/ 1905 h 2474172"/>
                <a:gd name="connsiteX1" fmla="*/ 457229 w 1604875"/>
                <a:gd name="connsiteY1" fmla="*/ 0 h 2474172"/>
                <a:gd name="connsiteX2" fmla="*/ 0 w 1604875"/>
                <a:gd name="connsiteY2" fmla="*/ 1551305 h 2474172"/>
                <a:gd name="connsiteX3" fmla="*/ 459980 w 1604875"/>
                <a:gd name="connsiteY3" fmla="*/ 2474172 h 2474172"/>
                <a:gd name="connsiteX4" fmla="*/ 1604875 w 1604875"/>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5576 w 2010471"/>
                <a:gd name="connsiteY3" fmla="*/ 2474172 h 2474172"/>
                <a:gd name="connsiteX4" fmla="*/ 2010471 w 2010471"/>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7472 w 2010471"/>
                <a:gd name="connsiteY3" fmla="*/ 2474172 h 2474172"/>
                <a:gd name="connsiteX4" fmla="*/ 2010471 w 2010471"/>
                <a:gd name="connsiteY4" fmla="*/ 2474172 h 2474172"/>
                <a:gd name="connsiteX0" fmla="*/ 2009592 w 2010471"/>
                <a:gd name="connsiteY0" fmla="*/ 1905 h 3163927"/>
                <a:gd name="connsiteX1" fmla="*/ 862825 w 2010471"/>
                <a:gd name="connsiteY1" fmla="*/ 0 h 3163927"/>
                <a:gd name="connsiteX2" fmla="*/ 0 w 2010471"/>
                <a:gd name="connsiteY2" fmla="*/ 1898088 h 3163927"/>
                <a:gd name="connsiteX3" fmla="*/ 867472 w 2010471"/>
                <a:gd name="connsiteY3" fmla="*/ 2474172 h 3163927"/>
                <a:gd name="connsiteX4" fmla="*/ 2010471 w 2010471"/>
                <a:gd name="connsiteY4" fmla="*/ 3163927 h 3163927"/>
                <a:gd name="connsiteX0" fmla="*/ 2009592 w 2010471"/>
                <a:gd name="connsiteY0" fmla="*/ 1905 h 3163927"/>
                <a:gd name="connsiteX1" fmla="*/ 862825 w 2010471"/>
                <a:gd name="connsiteY1" fmla="*/ 0 h 3163927"/>
                <a:gd name="connsiteX2" fmla="*/ 0 w 2010471"/>
                <a:gd name="connsiteY2" fmla="*/ 1898088 h 3163927"/>
                <a:gd name="connsiteX3" fmla="*/ 640035 w 2010471"/>
                <a:gd name="connsiteY3" fmla="*/ 3163927 h 3163927"/>
                <a:gd name="connsiteX4" fmla="*/ 2010471 w 2010471"/>
                <a:gd name="connsiteY4" fmla="*/ 3163927 h 3163927"/>
                <a:gd name="connsiteX0" fmla="*/ 2009592 w 2010471"/>
                <a:gd name="connsiteY0" fmla="*/ 1905 h 3167738"/>
                <a:gd name="connsiteX1" fmla="*/ 862825 w 2010471"/>
                <a:gd name="connsiteY1" fmla="*/ 0 h 3167738"/>
                <a:gd name="connsiteX2" fmla="*/ 0 w 2010471"/>
                <a:gd name="connsiteY2" fmla="*/ 1898088 h 3167738"/>
                <a:gd name="connsiteX3" fmla="*/ 640035 w 2010471"/>
                <a:gd name="connsiteY3" fmla="*/ 3163927 h 3167738"/>
                <a:gd name="connsiteX4" fmla="*/ 2010471 w 2010471"/>
                <a:gd name="connsiteY4" fmla="*/ 3167738 h 3167738"/>
                <a:gd name="connsiteX0" fmla="*/ 2009592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3383 w 2013383"/>
                <a:gd name="connsiteY0" fmla="*/ 1905 h 3167738"/>
                <a:gd name="connsiteX1" fmla="*/ 862825 w 2013383"/>
                <a:gd name="connsiteY1" fmla="*/ 0 h 3167738"/>
                <a:gd name="connsiteX2" fmla="*/ 0 w 2013383"/>
                <a:gd name="connsiteY2" fmla="*/ 1898088 h 3167738"/>
                <a:gd name="connsiteX3" fmla="*/ 641930 w 2013383"/>
                <a:gd name="connsiteY3" fmla="*/ 3167738 h 3167738"/>
                <a:gd name="connsiteX4" fmla="*/ 2010471 w 2013383"/>
                <a:gd name="connsiteY4" fmla="*/ 3167738 h 3167738"/>
                <a:gd name="connsiteX0" fmla="*/ 2011488 w 2011488"/>
                <a:gd name="connsiteY0" fmla="*/ 1905 h 3167738"/>
                <a:gd name="connsiteX1" fmla="*/ 862825 w 2011488"/>
                <a:gd name="connsiteY1" fmla="*/ 0 h 3167738"/>
                <a:gd name="connsiteX2" fmla="*/ 0 w 2011488"/>
                <a:gd name="connsiteY2" fmla="*/ 1898088 h 3167738"/>
                <a:gd name="connsiteX3" fmla="*/ 641930 w 2011488"/>
                <a:gd name="connsiteY3" fmla="*/ 3167738 h 3167738"/>
                <a:gd name="connsiteX4" fmla="*/ 2010471 w 2011488"/>
                <a:gd name="connsiteY4" fmla="*/ 3167738 h 3167738"/>
                <a:gd name="connsiteX0" fmla="*/ 2009593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1489 w 2011489"/>
                <a:gd name="connsiteY0" fmla="*/ 1905 h 3167738"/>
                <a:gd name="connsiteX1" fmla="*/ 862825 w 2011489"/>
                <a:gd name="connsiteY1" fmla="*/ 0 h 3167738"/>
                <a:gd name="connsiteX2" fmla="*/ 0 w 2011489"/>
                <a:gd name="connsiteY2" fmla="*/ 1898088 h 3167738"/>
                <a:gd name="connsiteX3" fmla="*/ 641930 w 2011489"/>
                <a:gd name="connsiteY3" fmla="*/ 3167738 h 3167738"/>
                <a:gd name="connsiteX4" fmla="*/ 2010471 w 2011489"/>
                <a:gd name="connsiteY4" fmla="*/ 3167738 h 3167738"/>
                <a:gd name="connsiteX0" fmla="*/ 2009594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09594 w 2009594"/>
                <a:gd name="connsiteY0" fmla="*/ 1905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9643"/>
                <a:gd name="connsiteX1" fmla="*/ 862825 w 2009594"/>
                <a:gd name="connsiteY1" fmla="*/ 1905 h 3169643"/>
                <a:gd name="connsiteX2" fmla="*/ 0 w 2009594"/>
                <a:gd name="connsiteY2" fmla="*/ 1899993 h 3169643"/>
                <a:gd name="connsiteX3" fmla="*/ 641930 w 2009594"/>
                <a:gd name="connsiteY3" fmla="*/ 3169643 h 3169643"/>
                <a:gd name="connsiteX4" fmla="*/ 2008576 w 2009594"/>
                <a:gd name="connsiteY4" fmla="*/ 3169643 h 3169643"/>
                <a:gd name="connsiteX0" fmla="*/ 2009594 w 2009594"/>
                <a:gd name="connsiteY0" fmla="*/ 0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1905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5833"/>
                <a:gd name="connsiteX1" fmla="*/ 860930 w 2009594"/>
                <a:gd name="connsiteY1" fmla="*/ 0 h 3165833"/>
                <a:gd name="connsiteX2" fmla="*/ 0 w 2009594"/>
                <a:gd name="connsiteY2" fmla="*/ 1896183 h 3165833"/>
                <a:gd name="connsiteX3" fmla="*/ 641930 w 2009594"/>
                <a:gd name="connsiteY3" fmla="*/ 3165833 h 3165833"/>
                <a:gd name="connsiteX4" fmla="*/ 2008576 w 2009594"/>
                <a:gd name="connsiteY4" fmla="*/ 3165833 h 316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594" h="3165833">
                  <a:moveTo>
                    <a:pt x="2009594" y="0"/>
                  </a:moveTo>
                  <a:lnTo>
                    <a:pt x="860930" y="0"/>
                  </a:lnTo>
                  <a:lnTo>
                    <a:pt x="0" y="1896183"/>
                  </a:lnTo>
                  <a:lnTo>
                    <a:pt x="641930" y="3165833"/>
                  </a:lnTo>
                  <a:lnTo>
                    <a:pt x="2008576" y="3165833"/>
                  </a:lnTo>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29" name="Volný tvar 28"/>
            <p:cNvSpPr/>
            <p:nvPr userDrawn="1"/>
          </p:nvSpPr>
          <p:spPr>
            <a:xfrm>
              <a:off x="9316886" y="3164324"/>
              <a:ext cx="1375107" cy="2704206"/>
            </a:xfrm>
            <a:custGeom>
              <a:avLst/>
              <a:gdLst>
                <a:gd name="connsiteX0" fmla="*/ 1134533 w 1134533"/>
                <a:gd name="connsiteY0" fmla="*/ 0 h 2243667"/>
                <a:gd name="connsiteX1" fmla="*/ 1134533 w 1134533"/>
                <a:gd name="connsiteY1" fmla="*/ 2243667 h 2243667"/>
                <a:gd name="connsiteX2" fmla="*/ 0 w 1134533"/>
                <a:gd name="connsiteY2" fmla="*/ 0 h 2243667"/>
                <a:gd name="connsiteX0" fmla="*/ 1134533 w 1138298"/>
                <a:gd name="connsiteY0" fmla="*/ 0 h 3398339"/>
                <a:gd name="connsiteX1" fmla="*/ 1138298 w 1138298"/>
                <a:gd name="connsiteY1" fmla="*/ 3398339 h 3398339"/>
                <a:gd name="connsiteX2" fmla="*/ 0 w 1138298"/>
                <a:gd name="connsiteY2" fmla="*/ 0 h 3398339"/>
                <a:gd name="connsiteX0" fmla="*/ 1134533 w 1138298"/>
                <a:gd name="connsiteY0" fmla="*/ 693566 h 3398339"/>
                <a:gd name="connsiteX1" fmla="*/ 1138298 w 1138298"/>
                <a:gd name="connsiteY1" fmla="*/ 3398339 h 3398339"/>
                <a:gd name="connsiteX2" fmla="*/ 0 w 1138298"/>
                <a:gd name="connsiteY2" fmla="*/ 0 h 3398339"/>
                <a:gd name="connsiteX0" fmla="*/ 1356642 w 1360407"/>
                <a:gd name="connsiteY0" fmla="*/ 0 h 2704773"/>
                <a:gd name="connsiteX1" fmla="*/ 1360407 w 1360407"/>
                <a:gd name="connsiteY1" fmla="*/ 2704773 h 2704773"/>
                <a:gd name="connsiteX2" fmla="*/ 0 w 1360407"/>
                <a:gd name="connsiteY2" fmla="*/ 0 h 2704773"/>
                <a:gd name="connsiteX0" fmla="*/ 1356642 w 1358525"/>
                <a:gd name="connsiteY0" fmla="*/ 0 h 2704773"/>
                <a:gd name="connsiteX1" fmla="*/ 1358525 w 1358525"/>
                <a:gd name="connsiteY1" fmla="*/ 2704773 h 2704773"/>
                <a:gd name="connsiteX2" fmla="*/ 0 w 1358525"/>
                <a:gd name="connsiteY2" fmla="*/ 0 h 2704773"/>
                <a:gd name="connsiteX0" fmla="*/ 1358524 w 1358705"/>
                <a:gd name="connsiteY0" fmla="*/ 0 h 2704773"/>
                <a:gd name="connsiteX1" fmla="*/ 1358525 w 1358705"/>
                <a:gd name="connsiteY1" fmla="*/ 2704773 h 2704773"/>
                <a:gd name="connsiteX2" fmla="*/ 0 w 1358705"/>
                <a:gd name="connsiteY2" fmla="*/ 0 h 2704773"/>
                <a:gd name="connsiteX0" fmla="*/ 1360406 w 1360587"/>
                <a:gd name="connsiteY0" fmla="*/ 0 h 2704773"/>
                <a:gd name="connsiteX1" fmla="*/ 1360407 w 1360587"/>
                <a:gd name="connsiteY1" fmla="*/ 2704773 h 2704773"/>
                <a:gd name="connsiteX2" fmla="*/ 0 w 1360587"/>
                <a:gd name="connsiteY2" fmla="*/ 0 h 2704773"/>
                <a:gd name="connsiteX0" fmla="*/ 1358524 w 1360407"/>
                <a:gd name="connsiteY0" fmla="*/ 0 h 2704773"/>
                <a:gd name="connsiteX1" fmla="*/ 1360407 w 1360407"/>
                <a:gd name="connsiteY1" fmla="*/ 2704773 h 2704773"/>
                <a:gd name="connsiteX2" fmla="*/ 0 w 1360407"/>
                <a:gd name="connsiteY2" fmla="*/ 0 h 2704773"/>
                <a:gd name="connsiteX0" fmla="*/ 1358524 w 1358705"/>
                <a:gd name="connsiteY0" fmla="*/ 0 h 2704773"/>
                <a:gd name="connsiteX1" fmla="*/ 1358525 w 1358705"/>
                <a:gd name="connsiteY1" fmla="*/ 2704773 h 2704773"/>
                <a:gd name="connsiteX2" fmla="*/ 0 w 1358705"/>
                <a:gd name="connsiteY2" fmla="*/ 0 h 2704773"/>
              </a:gdLst>
              <a:ahLst/>
              <a:cxnLst>
                <a:cxn ang="0">
                  <a:pos x="connsiteX0" y="connsiteY0"/>
                </a:cxn>
                <a:cxn ang="0">
                  <a:pos x="connsiteX1" y="connsiteY1"/>
                </a:cxn>
                <a:cxn ang="0">
                  <a:pos x="connsiteX2" y="connsiteY2"/>
                </a:cxn>
              </a:cxnLst>
              <a:rect l="l" t="t" r="r" b="b"/>
              <a:pathLst>
                <a:path w="1358705" h="2704773">
                  <a:moveTo>
                    <a:pt x="1358524" y="0"/>
                  </a:moveTo>
                  <a:cubicBezTo>
                    <a:pt x="1359152" y="901591"/>
                    <a:pt x="1357897" y="1803182"/>
                    <a:pt x="1358525" y="2704773"/>
                  </a:cubicBezTo>
                  <a:cubicBezTo>
                    <a:pt x="980347" y="1956884"/>
                    <a:pt x="378178" y="747889"/>
                    <a:pt x="0" y="0"/>
                  </a:cubicBezTo>
                </a:path>
              </a:pathLst>
            </a:custGeom>
            <a:gradFill>
              <a:gsLst>
                <a:gs pos="0">
                  <a:schemeClr val="bg1"/>
                </a:gs>
                <a:gs pos="100000">
                  <a:schemeClr val="bg1">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0" name="Volný tvar 29"/>
            <p:cNvSpPr/>
            <p:nvPr userDrawn="1"/>
          </p:nvSpPr>
          <p:spPr>
            <a:xfrm>
              <a:off x="2381428" y="0"/>
              <a:ext cx="7155030" cy="1892480"/>
            </a:xfrm>
            <a:custGeom>
              <a:avLst/>
              <a:gdLst>
                <a:gd name="connsiteX0" fmla="*/ 7442200 w 8144934"/>
                <a:gd name="connsiteY0" fmla="*/ 1540934 h 1540934"/>
                <a:gd name="connsiteX1" fmla="*/ 8144934 w 8144934"/>
                <a:gd name="connsiteY1" fmla="*/ 0 h 1540934"/>
                <a:gd name="connsiteX2" fmla="*/ 0 w 8144934"/>
                <a:gd name="connsiteY2" fmla="*/ 0 h 1540934"/>
                <a:gd name="connsiteX0" fmla="*/ 7438390 w 8144934"/>
                <a:gd name="connsiteY0" fmla="*/ 1540934 h 1540934"/>
                <a:gd name="connsiteX1" fmla="*/ 8144934 w 8144934"/>
                <a:gd name="connsiteY1" fmla="*/ 0 h 1540934"/>
                <a:gd name="connsiteX2" fmla="*/ 0 w 8144934"/>
                <a:gd name="connsiteY2" fmla="*/ 0 h 1540934"/>
                <a:gd name="connsiteX0" fmla="*/ 7032565 w 8144934"/>
                <a:gd name="connsiteY0" fmla="*/ 1882340 h 1882340"/>
                <a:gd name="connsiteX1" fmla="*/ 8144934 w 8144934"/>
                <a:gd name="connsiteY1" fmla="*/ 0 h 1882340"/>
                <a:gd name="connsiteX2" fmla="*/ 0 w 8144934"/>
                <a:gd name="connsiteY2" fmla="*/ 0 h 1882340"/>
                <a:gd name="connsiteX0" fmla="*/ 7030660 w 8144934"/>
                <a:gd name="connsiteY0" fmla="*/ 1882340 h 1882340"/>
                <a:gd name="connsiteX1" fmla="*/ 8144934 w 8144934"/>
                <a:gd name="connsiteY1" fmla="*/ 0 h 1882340"/>
                <a:gd name="connsiteX2" fmla="*/ 0 w 8144934"/>
                <a:gd name="connsiteY2" fmla="*/ 0 h 1882340"/>
                <a:gd name="connsiteX0" fmla="*/ 7030660 w 7895342"/>
                <a:gd name="connsiteY0" fmla="*/ 1882340 h 1882340"/>
                <a:gd name="connsiteX1" fmla="*/ 7895342 w 7895342"/>
                <a:gd name="connsiteY1" fmla="*/ 0 h 1882340"/>
                <a:gd name="connsiteX2" fmla="*/ 0 w 7895342"/>
                <a:gd name="connsiteY2" fmla="*/ 0 h 1882340"/>
                <a:gd name="connsiteX0" fmla="*/ 6272357 w 7137039"/>
                <a:gd name="connsiteY0" fmla="*/ 1884237 h 1884237"/>
                <a:gd name="connsiteX1" fmla="*/ 7137039 w 7137039"/>
                <a:gd name="connsiteY1" fmla="*/ 1897 h 1884237"/>
                <a:gd name="connsiteX2" fmla="*/ 0 w 7137039"/>
                <a:gd name="connsiteY2" fmla="*/ 0 h 1884237"/>
                <a:gd name="connsiteX0" fmla="*/ 6276168 w 7137039"/>
                <a:gd name="connsiteY0" fmla="*/ 1882340 h 1882340"/>
                <a:gd name="connsiteX1" fmla="*/ 7137039 w 7137039"/>
                <a:gd name="connsiteY1" fmla="*/ 1897 h 1882340"/>
                <a:gd name="connsiteX2" fmla="*/ 0 w 7137039"/>
                <a:gd name="connsiteY2" fmla="*/ 0 h 1882340"/>
                <a:gd name="connsiteX0" fmla="*/ 6276168 w 7137039"/>
                <a:gd name="connsiteY0" fmla="*/ 1886133 h 1886133"/>
                <a:gd name="connsiteX1" fmla="*/ 7137039 w 7137039"/>
                <a:gd name="connsiteY1" fmla="*/ 1897 h 1886133"/>
                <a:gd name="connsiteX2" fmla="*/ 0 w 7137039"/>
                <a:gd name="connsiteY2" fmla="*/ 0 h 1886133"/>
                <a:gd name="connsiteX0" fmla="*/ 6291410 w 7152281"/>
                <a:gd name="connsiteY0" fmla="*/ 1884236 h 1884236"/>
                <a:gd name="connsiteX1" fmla="*/ 7152281 w 7152281"/>
                <a:gd name="connsiteY1" fmla="*/ 0 h 1884236"/>
                <a:gd name="connsiteX2" fmla="*/ 0 w 7152281"/>
                <a:gd name="connsiteY2" fmla="*/ 0 h 1884236"/>
                <a:gd name="connsiteX0" fmla="*/ 6293315 w 7154186"/>
                <a:gd name="connsiteY0" fmla="*/ 1884236 h 1884236"/>
                <a:gd name="connsiteX1" fmla="*/ 7154186 w 7154186"/>
                <a:gd name="connsiteY1" fmla="*/ 0 h 1884236"/>
                <a:gd name="connsiteX2" fmla="*/ 0 w 7154186"/>
                <a:gd name="connsiteY2" fmla="*/ 0 h 1884236"/>
                <a:gd name="connsiteX0" fmla="*/ 6295220 w 7156091"/>
                <a:gd name="connsiteY0" fmla="*/ 1884236 h 1884236"/>
                <a:gd name="connsiteX1" fmla="*/ 7156091 w 7156091"/>
                <a:gd name="connsiteY1" fmla="*/ 0 h 1884236"/>
                <a:gd name="connsiteX2" fmla="*/ 0 w 7156091"/>
                <a:gd name="connsiteY2" fmla="*/ 0 h 1884236"/>
              </a:gdLst>
              <a:ahLst/>
              <a:cxnLst>
                <a:cxn ang="0">
                  <a:pos x="connsiteX0" y="connsiteY0"/>
                </a:cxn>
                <a:cxn ang="0">
                  <a:pos x="connsiteX1" y="connsiteY1"/>
                </a:cxn>
                <a:cxn ang="0">
                  <a:pos x="connsiteX2" y="connsiteY2"/>
                </a:cxn>
              </a:cxnLst>
              <a:rect l="l" t="t" r="r" b="b"/>
              <a:pathLst>
                <a:path w="7156091" h="1884236">
                  <a:moveTo>
                    <a:pt x="6295220" y="1884236"/>
                  </a:moveTo>
                  <a:lnTo>
                    <a:pt x="7156091" y="0"/>
                  </a:lnTo>
                  <a:lnTo>
                    <a:pt x="0" y="0"/>
                  </a:lnTo>
                </a:path>
              </a:pathLst>
            </a:custGeom>
            <a:solidFill>
              <a:schemeClr val="tx1">
                <a:lumMod val="50000"/>
                <a:lumOff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1" name="Volný tvar 30"/>
            <p:cNvSpPr/>
            <p:nvPr userDrawn="1"/>
          </p:nvSpPr>
          <p:spPr>
            <a:xfrm>
              <a:off x="-1" y="-1905"/>
              <a:ext cx="8678465" cy="4438313"/>
            </a:xfrm>
            <a:custGeom>
              <a:avLst/>
              <a:gdLst>
                <a:gd name="connsiteX0" fmla="*/ 9084733 w 9084733"/>
                <a:gd name="connsiteY0" fmla="*/ 1549400 h 3623734"/>
                <a:gd name="connsiteX1" fmla="*/ 1659466 w 9084733"/>
                <a:gd name="connsiteY1" fmla="*/ 0 h 3623734"/>
                <a:gd name="connsiteX2" fmla="*/ 0 w 9084733"/>
                <a:gd name="connsiteY2" fmla="*/ 0 h 3623734"/>
                <a:gd name="connsiteX3" fmla="*/ 0 w 9084733"/>
                <a:gd name="connsiteY3" fmla="*/ 3623734 h 3623734"/>
                <a:gd name="connsiteX0" fmla="*/ 9071408 w 9071408"/>
                <a:gd name="connsiteY0" fmla="*/ 1547495 h 3623734"/>
                <a:gd name="connsiteX1" fmla="*/ 1659466 w 9071408"/>
                <a:gd name="connsiteY1" fmla="*/ 0 h 3623734"/>
                <a:gd name="connsiteX2" fmla="*/ 0 w 9071408"/>
                <a:gd name="connsiteY2" fmla="*/ 0 h 3623734"/>
                <a:gd name="connsiteX3" fmla="*/ 0 w 9071408"/>
                <a:gd name="connsiteY3" fmla="*/ 3623734 h 3623734"/>
                <a:gd name="connsiteX0" fmla="*/ 9073312 w 9073312"/>
                <a:gd name="connsiteY0" fmla="*/ 1547495 h 4437340"/>
                <a:gd name="connsiteX1" fmla="*/ 1661370 w 9073312"/>
                <a:gd name="connsiteY1" fmla="*/ 0 h 4437340"/>
                <a:gd name="connsiteX2" fmla="*/ 1904 w 9073312"/>
                <a:gd name="connsiteY2" fmla="*/ 0 h 4437340"/>
                <a:gd name="connsiteX3" fmla="*/ 0 w 9073312"/>
                <a:gd name="connsiteY3" fmla="*/ 4437340 h 4437340"/>
                <a:gd name="connsiteX0" fmla="*/ 9071408 w 9071408"/>
                <a:gd name="connsiteY0" fmla="*/ 1547495 h 4437340"/>
                <a:gd name="connsiteX1" fmla="*/ 1659466 w 9071408"/>
                <a:gd name="connsiteY1" fmla="*/ 0 h 4437340"/>
                <a:gd name="connsiteX2" fmla="*/ 0 w 9071408"/>
                <a:gd name="connsiteY2" fmla="*/ 0 h 4437340"/>
                <a:gd name="connsiteX3" fmla="*/ 0 w 9071408"/>
                <a:gd name="connsiteY3" fmla="*/ 4437340 h 4437340"/>
                <a:gd name="connsiteX0" fmla="*/ 8667864 w 8667864"/>
                <a:gd name="connsiteY0" fmla="*/ 1894278 h 4437340"/>
                <a:gd name="connsiteX1" fmla="*/ 1659466 w 8667864"/>
                <a:gd name="connsiteY1" fmla="*/ 0 h 4437340"/>
                <a:gd name="connsiteX2" fmla="*/ 0 w 8667864"/>
                <a:gd name="connsiteY2" fmla="*/ 0 h 4437340"/>
                <a:gd name="connsiteX3" fmla="*/ 0 w 8667864"/>
                <a:gd name="connsiteY3" fmla="*/ 4437340 h 4437340"/>
                <a:gd name="connsiteX0" fmla="*/ 8667864 w 8667864"/>
                <a:gd name="connsiteY0" fmla="*/ 1896183 h 4439245"/>
                <a:gd name="connsiteX1" fmla="*/ 2373282 w 8667864"/>
                <a:gd name="connsiteY1" fmla="*/ 0 h 4439245"/>
                <a:gd name="connsiteX2" fmla="*/ 0 w 8667864"/>
                <a:gd name="connsiteY2" fmla="*/ 1905 h 4439245"/>
                <a:gd name="connsiteX3" fmla="*/ 0 w 8667864"/>
                <a:gd name="connsiteY3" fmla="*/ 4439245 h 4439245"/>
                <a:gd name="connsiteX0" fmla="*/ 8671671 w 8671671"/>
                <a:gd name="connsiteY0" fmla="*/ 1894278 h 4439245"/>
                <a:gd name="connsiteX1" fmla="*/ 2373282 w 8671671"/>
                <a:gd name="connsiteY1" fmla="*/ 0 h 4439245"/>
                <a:gd name="connsiteX2" fmla="*/ 0 w 8671671"/>
                <a:gd name="connsiteY2" fmla="*/ 1905 h 4439245"/>
                <a:gd name="connsiteX3" fmla="*/ 0 w 8671671"/>
                <a:gd name="connsiteY3" fmla="*/ 4439245 h 4439245"/>
              </a:gdLst>
              <a:ahLst/>
              <a:cxnLst>
                <a:cxn ang="0">
                  <a:pos x="connsiteX0" y="connsiteY0"/>
                </a:cxn>
                <a:cxn ang="0">
                  <a:pos x="connsiteX1" y="connsiteY1"/>
                </a:cxn>
                <a:cxn ang="0">
                  <a:pos x="connsiteX2" y="connsiteY2"/>
                </a:cxn>
                <a:cxn ang="0">
                  <a:pos x="connsiteX3" y="connsiteY3"/>
                </a:cxn>
              </a:cxnLst>
              <a:rect l="l" t="t" r="r" b="b"/>
              <a:pathLst>
                <a:path w="8671671" h="4439245">
                  <a:moveTo>
                    <a:pt x="8671671" y="1894278"/>
                  </a:moveTo>
                  <a:lnTo>
                    <a:pt x="2373282" y="0"/>
                  </a:lnTo>
                  <a:lnTo>
                    <a:pt x="0" y="1905"/>
                  </a:lnTo>
                  <a:lnTo>
                    <a:pt x="0" y="4439245"/>
                  </a:lnTo>
                </a:path>
              </a:pathLst>
            </a:custGeom>
            <a:solidFill>
              <a:schemeClr val="tx1">
                <a:lumMod val="50000"/>
                <a:lumOff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pic>
          <p:nvPicPr>
            <p:cNvPr id="32" name="Obrázek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19849" y="1054894"/>
              <a:ext cx="1224000" cy="1622866"/>
            </a:xfrm>
            <a:prstGeom prst="rect">
              <a:avLst/>
            </a:prstGeom>
          </p:spPr>
        </p:pic>
      </p:grpSp>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52914220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99" imgH="398" progId="TCLayout.ActiveDocument.1">
                  <p:embed/>
                </p:oleObj>
              </mc:Choice>
              <mc:Fallback>
                <p:oleObj name="think-cell Slide" r:id="rId5" imgW="399" imgH="398" progId="TCLayout.ActiveDocument.1">
                  <p:embed/>
                  <p:pic>
                    <p:nvPicPr>
                      <p:cNvPr id="3" name="Objekt 2"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Nadpis 6"/>
          <p:cNvSpPr>
            <a:spLocks noGrp="1"/>
          </p:cNvSpPr>
          <p:nvPr>
            <p:ph type="title" hasCustomPrompt="1"/>
          </p:nvPr>
        </p:nvSpPr>
        <p:spPr>
          <a:xfrm>
            <a:off x="342848" y="1638000"/>
            <a:ext cx="8278865" cy="539887"/>
          </a:xfrm>
        </p:spPr>
        <p:txBody>
          <a:bodyPr anchor="t" anchorCtr="0">
            <a:noAutofit/>
          </a:bodyPr>
          <a:lstStyle>
            <a:lvl1pPr>
              <a:lnSpc>
                <a:spcPts val="4400"/>
              </a:lnSpc>
              <a:defRPr sz="3600" cap="all" baseline="0">
                <a:solidFill>
                  <a:schemeClr val="tx1"/>
                </a:solidFill>
                <a:latin typeface="SKODA Next" panose="020B0504020603020204" pitchFamily="34" charset="0"/>
              </a:defRPr>
            </a:lvl1pPr>
          </a:lstStyle>
          <a:p>
            <a:r>
              <a:rPr lang="cs-CZ" noProof="0" dirty="0"/>
              <a:t>Název prezentace</a:t>
            </a:r>
          </a:p>
        </p:txBody>
      </p:sp>
      <p:sp>
        <p:nvSpPr>
          <p:cNvPr id="15" name="Zástupný symbol pro text 14"/>
          <p:cNvSpPr>
            <a:spLocks noGrp="1"/>
          </p:cNvSpPr>
          <p:nvPr>
            <p:ph type="body" sz="quarter" idx="13" hasCustomPrompt="1"/>
          </p:nvPr>
        </p:nvSpPr>
        <p:spPr>
          <a:xfrm>
            <a:off x="341949" y="5506843"/>
            <a:ext cx="5183231" cy="323932"/>
          </a:xfrm>
        </p:spPr>
        <p:txBody>
          <a:bodyPr vert="horz" lIns="0" tIns="0" rIns="0" bIns="0" rtlCol="0" anchor="b" anchorCtr="0">
            <a:noAutofit/>
          </a:bodyPr>
          <a:lstStyle>
            <a:lvl1pPr marL="180000" indent="-180000">
              <a:buNone/>
              <a:defRPr lang="cs-CZ" sz="2000" noProof="0" dirty="0">
                <a:effectLst>
                  <a:glow rad="254000">
                    <a:schemeClr val="bg1">
                      <a:alpha val="34000"/>
                    </a:schemeClr>
                  </a:glow>
                </a:effectLst>
              </a:defRPr>
            </a:lvl1pPr>
          </a:lstStyle>
          <a:p>
            <a:pPr marL="0" lvl="0" indent="0">
              <a:lnSpc>
                <a:spcPts val="2400"/>
              </a:lnSpc>
            </a:pPr>
            <a:r>
              <a:rPr lang="cs-CZ" noProof="0" dirty="0"/>
              <a:t>Jméno</a:t>
            </a:r>
          </a:p>
        </p:txBody>
      </p:sp>
      <p:sp>
        <p:nvSpPr>
          <p:cNvPr id="17" name="Zástupný symbol pro text 16"/>
          <p:cNvSpPr>
            <a:spLocks noGrp="1"/>
          </p:cNvSpPr>
          <p:nvPr>
            <p:ph type="body" sz="quarter" idx="14" hasCustomPrompt="1"/>
          </p:nvPr>
        </p:nvSpPr>
        <p:spPr>
          <a:xfrm>
            <a:off x="341949" y="6298677"/>
            <a:ext cx="5183231" cy="323932"/>
          </a:xfrm>
        </p:spPr>
        <p:txBody>
          <a:bodyPr vert="horz" lIns="0" tIns="0" rIns="0" bIns="0" rtlCol="0" anchor="b" anchorCtr="0">
            <a:noAutofit/>
          </a:bodyPr>
          <a:lstStyle>
            <a:lvl1pPr marL="180000" indent="-180000">
              <a:buNone/>
              <a:defRPr lang="cs-CZ" sz="2000" noProof="0" dirty="0">
                <a:effectLst>
                  <a:glow rad="254000">
                    <a:schemeClr val="bg1">
                      <a:alpha val="34000"/>
                    </a:schemeClr>
                  </a:glow>
                </a:effectLst>
              </a:defRPr>
            </a:lvl1pPr>
          </a:lstStyle>
          <a:p>
            <a:pPr marL="0" lvl="0" indent="0">
              <a:lnSpc>
                <a:spcPts val="2400"/>
              </a:lnSpc>
            </a:pPr>
            <a:r>
              <a:rPr lang="cs-CZ" sz="2000" noProof="0" dirty="0"/>
              <a:t>XX.XX.2017</a:t>
            </a:r>
            <a:endParaRPr lang="cs-CZ" noProof="0" dirty="0"/>
          </a:p>
        </p:txBody>
      </p:sp>
      <p:sp>
        <p:nvSpPr>
          <p:cNvPr id="19" name="Zástupný symbol pro text 18"/>
          <p:cNvSpPr>
            <a:spLocks noGrp="1"/>
          </p:cNvSpPr>
          <p:nvPr>
            <p:ph type="body" sz="quarter" idx="15" hasCustomPrompt="1"/>
          </p:nvPr>
        </p:nvSpPr>
        <p:spPr>
          <a:xfrm>
            <a:off x="342849" y="2358000"/>
            <a:ext cx="6550641" cy="719849"/>
          </a:xfrm>
        </p:spPr>
        <p:txBody>
          <a:bodyPr>
            <a:noAutofit/>
          </a:bodyPr>
          <a:lstStyle>
            <a:lvl1pPr marL="0" indent="0">
              <a:lnSpc>
                <a:spcPts val="2400"/>
              </a:lnSpc>
              <a:buFont typeface="Arial" panose="020B0604020202020204" pitchFamily="34" charset="0"/>
              <a:buNone/>
              <a:defRPr sz="2000">
                <a:solidFill>
                  <a:schemeClr val="tx1"/>
                </a:solidFill>
                <a:latin typeface="SKODA Next" panose="020B0504020603020204" pitchFamily="34" charset="0"/>
              </a:defRPr>
            </a:lvl1pPr>
          </a:lstStyle>
          <a:p>
            <a:pPr lvl="0"/>
            <a:r>
              <a:rPr lang="cs-CZ" noProof="0" dirty="0"/>
              <a:t>Dodatečné informace</a:t>
            </a:r>
          </a:p>
        </p:txBody>
      </p:sp>
      <p:sp>
        <p:nvSpPr>
          <p:cNvPr id="21" name="Zástupný symbol pro text 20"/>
          <p:cNvSpPr>
            <a:spLocks noGrp="1"/>
          </p:cNvSpPr>
          <p:nvPr>
            <p:ph type="body" sz="quarter" idx="16" hasCustomPrompt="1"/>
          </p:nvPr>
        </p:nvSpPr>
        <p:spPr>
          <a:xfrm>
            <a:off x="341949" y="5902760"/>
            <a:ext cx="5183231" cy="323932"/>
          </a:xfrm>
        </p:spPr>
        <p:txBody>
          <a:bodyPr vert="horz" lIns="0" tIns="0" rIns="0" bIns="0" rtlCol="0" anchor="b" anchorCtr="0">
            <a:noAutofit/>
          </a:bodyPr>
          <a:lstStyle>
            <a:lvl1pPr marL="180000" indent="-180000">
              <a:buNone/>
              <a:defRPr lang="cs-CZ" sz="2000" noProof="0" dirty="0">
                <a:effectLst>
                  <a:glow rad="254000">
                    <a:schemeClr val="bg1">
                      <a:alpha val="34000"/>
                    </a:schemeClr>
                  </a:glow>
                </a:effectLst>
              </a:defRPr>
            </a:lvl1pPr>
          </a:lstStyle>
          <a:p>
            <a:pPr marL="0" lvl="0" indent="0">
              <a:lnSpc>
                <a:spcPts val="2400"/>
              </a:lnSpc>
            </a:pPr>
            <a:r>
              <a:rPr lang="cs-CZ" noProof="0" dirty="0"/>
              <a:t>Oddělení</a:t>
            </a:r>
          </a:p>
        </p:txBody>
      </p:sp>
      <p:sp>
        <p:nvSpPr>
          <p:cNvPr id="22" name="Zástupný symbol pro číslo snímku 5"/>
          <p:cNvSpPr>
            <a:spLocks noGrp="1"/>
          </p:cNvSpPr>
          <p:nvPr>
            <p:ph type="sldNum" sz="quarter" idx="10"/>
          </p:nvPr>
        </p:nvSpPr>
        <p:spPr>
          <a:xfrm>
            <a:off x="342849" y="7162496"/>
            <a:ext cx="269960" cy="179962"/>
          </a:xfrm>
        </p:spPr>
        <p:txBody>
          <a:bodyPr/>
          <a:lstStyle>
            <a:lvl1pPr>
              <a:defRPr>
                <a:noFill/>
                <a:latin typeface="SKODA Next" panose="020B0504020603020204" pitchFamily="34" charset="0"/>
              </a:defRPr>
            </a:lvl1pPr>
          </a:lstStyle>
          <a:p>
            <a:fld id="{1E956721-BB38-4972-8ACD-5A2C9377E3B4}" type="slidenum">
              <a:rPr lang="cs-CZ" noProof="0" smtClean="0"/>
              <a:pPr/>
              <a:t>‹#›</a:t>
            </a:fld>
            <a:endParaRPr lang="cs-CZ" noProof="0" dirty="0"/>
          </a:p>
        </p:txBody>
      </p:sp>
      <p:sp>
        <p:nvSpPr>
          <p:cNvPr id="23" name="Zástupný symbol pro zápatí 6"/>
          <p:cNvSpPr>
            <a:spLocks noGrp="1"/>
          </p:cNvSpPr>
          <p:nvPr>
            <p:ph type="ftr" sz="quarter" idx="11"/>
          </p:nvPr>
        </p:nvSpPr>
        <p:spPr>
          <a:xfrm>
            <a:off x="719894" y="7162496"/>
            <a:ext cx="6173596" cy="179962"/>
          </a:xfrm>
        </p:spPr>
        <p:txBody>
          <a:bodyPr/>
          <a:lstStyle>
            <a:lvl1pPr>
              <a:defRPr>
                <a:noFill/>
                <a:latin typeface="SKODA Next" panose="020B0504020603020204" pitchFamily="34" charset="0"/>
              </a:defRPr>
            </a:lvl1pPr>
          </a:lstStyle>
          <a:p>
            <a:endParaRPr lang="cs-CZ" noProof="0" dirty="0"/>
          </a:p>
        </p:txBody>
      </p:sp>
      <p:sp>
        <p:nvSpPr>
          <p:cNvPr id="16" name="TextovéPole 15"/>
          <p:cNvSpPr txBox="1"/>
          <p:nvPr userDrawn="1"/>
        </p:nvSpPr>
        <p:spPr>
          <a:xfrm>
            <a:off x="9720000" y="7358802"/>
            <a:ext cx="720000" cy="108000"/>
          </a:xfrm>
          <a:prstGeom prst="rect">
            <a:avLst/>
          </a:prstGeom>
          <a:noFill/>
        </p:spPr>
        <p:txBody>
          <a:bodyPr wrap="square" lIns="0" tIns="0" rIns="0" bIns="0" rtlCol="0" anchor="b" anchorCtr="0">
            <a:normAutofit/>
          </a:bodyPr>
          <a:lstStyle/>
          <a:p>
            <a:pPr algn="r"/>
            <a:r>
              <a:rPr lang="en-GB" sz="700" b="1" noProof="0" dirty="0">
                <a:effectLst>
                  <a:glow rad="254000">
                    <a:schemeClr val="bg1">
                      <a:alpha val="34000"/>
                    </a:schemeClr>
                  </a:glow>
                </a:effectLst>
                <a:latin typeface="SKODA Next" panose="020B0504020603020204" pitchFamily="34" charset="0"/>
                <a:cs typeface="Arial" panose="020B0604020202020204" pitchFamily="34" charset="0"/>
              </a:rPr>
              <a:t>CONFIDENTIA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Ligh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20" name="Skupina 19"/>
          <p:cNvGrpSpPr/>
          <p:nvPr userDrawn="1"/>
        </p:nvGrpSpPr>
        <p:grpSpPr>
          <a:xfrm>
            <a:off x="-1" y="-1905"/>
            <a:ext cx="10691994" cy="5870435"/>
            <a:chOff x="-1" y="-1905"/>
            <a:chExt cx="10691994" cy="5870435"/>
          </a:xfrm>
        </p:grpSpPr>
        <p:sp>
          <p:nvSpPr>
            <p:cNvPr id="28" name="Volný tvar 27"/>
            <p:cNvSpPr/>
            <p:nvPr userDrawn="1"/>
          </p:nvSpPr>
          <p:spPr>
            <a:xfrm>
              <a:off x="8671948" y="0"/>
              <a:ext cx="2019872" cy="3165168"/>
            </a:xfrm>
            <a:custGeom>
              <a:avLst/>
              <a:gdLst>
                <a:gd name="connsiteX0" fmla="*/ 1600200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5886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7782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9678 w 1609678"/>
                <a:gd name="connsiteY0" fmla="*/ 0 h 2472267"/>
                <a:gd name="connsiteX1" fmla="*/ 711200 w 1609678"/>
                <a:gd name="connsiteY1" fmla="*/ 0 h 2472267"/>
                <a:gd name="connsiteX2" fmla="*/ 0 w 1609678"/>
                <a:gd name="connsiteY2" fmla="*/ 1549400 h 2472267"/>
                <a:gd name="connsiteX3" fmla="*/ 465666 w 1609678"/>
                <a:gd name="connsiteY3" fmla="*/ 2472267 h 2472267"/>
                <a:gd name="connsiteX4" fmla="*/ 1608666 w 1609678"/>
                <a:gd name="connsiteY4" fmla="*/ 2472267 h 2472267"/>
                <a:gd name="connsiteX0" fmla="*/ 1609678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4 w 1611574"/>
                <a:gd name="connsiteY0" fmla="*/ 0 h 2472267"/>
                <a:gd name="connsiteX1" fmla="*/ 711200 w 1611574"/>
                <a:gd name="connsiteY1" fmla="*/ 0 h 2472267"/>
                <a:gd name="connsiteX2" fmla="*/ 0 w 1611574"/>
                <a:gd name="connsiteY2" fmla="*/ 1549400 h 2472267"/>
                <a:gd name="connsiteX3" fmla="*/ 465666 w 1611574"/>
                <a:gd name="connsiteY3" fmla="*/ 2472267 h 2472267"/>
                <a:gd name="connsiteX4" fmla="*/ 1610561 w 1611574"/>
                <a:gd name="connsiteY4" fmla="*/ 2472267 h 2472267"/>
                <a:gd name="connsiteX0" fmla="*/ 1609679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5 w 1611575"/>
                <a:gd name="connsiteY0" fmla="*/ 0 h 2472267"/>
                <a:gd name="connsiteX1" fmla="*/ 711200 w 1611575"/>
                <a:gd name="connsiteY1" fmla="*/ 0 h 2472267"/>
                <a:gd name="connsiteX2" fmla="*/ 0 w 1611575"/>
                <a:gd name="connsiteY2" fmla="*/ 1549400 h 2472267"/>
                <a:gd name="connsiteX3" fmla="*/ 465666 w 1611575"/>
                <a:gd name="connsiteY3" fmla="*/ 2472267 h 2472267"/>
                <a:gd name="connsiteX4" fmla="*/ 1610561 w 1611575"/>
                <a:gd name="connsiteY4" fmla="*/ 2472267 h 2472267"/>
                <a:gd name="connsiteX0" fmla="*/ 1609680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3995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9681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7 w 1611577"/>
                <a:gd name="connsiteY0" fmla="*/ 0 h 2472267"/>
                <a:gd name="connsiteX1" fmla="*/ 711200 w 1611577"/>
                <a:gd name="connsiteY1" fmla="*/ 0 h 2472267"/>
                <a:gd name="connsiteX2" fmla="*/ 0 w 1611577"/>
                <a:gd name="connsiteY2" fmla="*/ 1549400 h 2472267"/>
                <a:gd name="connsiteX3" fmla="*/ 465666 w 1611577"/>
                <a:gd name="connsiteY3" fmla="*/ 2472267 h 2472267"/>
                <a:gd name="connsiteX4" fmla="*/ 1610561 w 1611577"/>
                <a:gd name="connsiteY4" fmla="*/ 2472267 h 2472267"/>
                <a:gd name="connsiteX0" fmla="*/ 1609682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7787 w 1608666"/>
                <a:gd name="connsiteY0" fmla="*/ 0 h 2472267"/>
                <a:gd name="connsiteX1" fmla="*/ 709305 w 1608666"/>
                <a:gd name="connsiteY1" fmla="*/ 0 h 2472267"/>
                <a:gd name="connsiteX2" fmla="*/ 0 w 1608666"/>
                <a:gd name="connsiteY2" fmla="*/ 1549400 h 2472267"/>
                <a:gd name="connsiteX3" fmla="*/ 463771 w 1608666"/>
                <a:gd name="connsiteY3" fmla="*/ 2472267 h 2472267"/>
                <a:gd name="connsiteX4" fmla="*/ 1608666 w 1608666"/>
                <a:gd name="connsiteY4" fmla="*/ 2472267 h 2472267"/>
                <a:gd name="connsiteX0" fmla="*/ 1603996 w 1604875"/>
                <a:gd name="connsiteY0" fmla="*/ 0 h 2472267"/>
                <a:gd name="connsiteX1" fmla="*/ 705514 w 1604875"/>
                <a:gd name="connsiteY1" fmla="*/ 0 h 2472267"/>
                <a:gd name="connsiteX2" fmla="*/ 0 w 1604875"/>
                <a:gd name="connsiteY2" fmla="*/ 1549400 h 2472267"/>
                <a:gd name="connsiteX3" fmla="*/ 459980 w 1604875"/>
                <a:gd name="connsiteY3" fmla="*/ 2472267 h 2472267"/>
                <a:gd name="connsiteX4" fmla="*/ 1604875 w 1604875"/>
                <a:gd name="connsiteY4" fmla="*/ 2472267 h 2472267"/>
                <a:gd name="connsiteX0" fmla="*/ 1603996 w 1604875"/>
                <a:gd name="connsiteY0" fmla="*/ 1905 h 2474172"/>
                <a:gd name="connsiteX1" fmla="*/ 457229 w 1604875"/>
                <a:gd name="connsiteY1" fmla="*/ 0 h 2474172"/>
                <a:gd name="connsiteX2" fmla="*/ 0 w 1604875"/>
                <a:gd name="connsiteY2" fmla="*/ 1551305 h 2474172"/>
                <a:gd name="connsiteX3" fmla="*/ 459980 w 1604875"/>
                <a:gd name="connsiteY3" fmla="*/ 2474172 h 2474172"/>
                <a:gd name="connsiteX4" fmla="*/ 1604875 w 1604875"/>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5576 w 2010471"/>
                <a:gd name="connsiteY3" fmla="*/ 2474172 h 2474172"/>
                <a:gd name="connsiteX4" fmla="*/ 2010471 w 2010471"/>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7472 w 2010471"/>
                <a:gd name="connsiteY3" fmla="*/ 2474172 h 2474172"/>
                <a:gd name="connsiteX4" fmla="*/ 2010471 w 2010471"/>
                <a:gd name="connsiteY4" fmla="*/ 2474172 h 2474172"/>
                <a:gd name="connsiteX0" fmla="*/ 2009592 w 2010471"/>
                <a:gd name="connsiteY0" fmla="*/ 1905 h 3163927"/>
                <a:gd name="connsiteX1" fmla="*/ 862825 w 2010471"/>
                <a:gd name="connsiteY1" fmla="*/ 0 h 3163927"/>
                <a:gd name="connsiteX2" fmla="*/ 0 w 2010471"/>
                <a:gd name="connsiteY2" fmla="*/ 1898088 h 3163927"/>
                <a:gd name="connsiteX3" fmla="*/ 867472 w 2010471"/>
                <a:gd name="connsiteY3" fmla="*/ 2474172 h 3163927"/>
                <a:gd name="connsiteX4" fmla="*/ 2010471 w 2010471"/>
                <a:gd name="connsiteY4" fmla="*/ 3163927 h 3163927"/>
                <a:gd name="connsiteX0" fmla="*/ 2009592 w 2010471"/>
                <a:gd name="connsiteY0" fmla="*/ 1905 h 3163927"/>
                <a:gd name="connsiteX1" fmla="*/ 862825 w 2010471"/>
                <a:gd name="connsiteY1" fmla="*/ 0 h 3163927"/>
                <a:gd name="connsiteX2" fmla="*/ 0 w 2010471"/>
                <a:gd name="connsiteY2" fmla="*/ 1898088 h 3163927"/>
                <a:gd name="connsiteX3" fmla="*/ 640035 w 2010471"/>
                <a:gd name="connsiteY3" fmla="*/ 3163927 h 3163927"/>
                <a:gd name="connsiteX4" fmla="*/ 2010471 w 2010471"/>
                <a:gd name="connsiteY4" fmla="*/ 3163927 h 3163927"/>
                <a:gd name="connsiteX0" fmla="*/ 2009592 w 2010471"/>
                <a:gd name="connsiteY0" fmla="*/ 1905 h 3167738"/>
                <a:gd name="connsiteX1" fmla="*/ 862825 w 2010471"/>
                <a:gd name="connsiteY1" fmla="*/ 0 h 3167738"/>
                <a:gd name="connsiteX2" fmla="*/ 0 w 2010471"/>
                <a:gd name="connsiteY2" fmla="*/ 1898088 h 3167738"/>
                <a:gd name="connsiteX3" fmla="*/ 640035 w 2010471"/>
                <a:gd name="connsiteY3" fmla="*/ 3163927 h 3167738"/>
                <a:gd name="connsiteX4" fmla="*/ 2010471 w 2010471"/>
                <a:gd name="connsiteY4" fmla="*/ 3167738 h 3167738"/>
                <a:gd name="connsiteX0" fmla="*/ 2009592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3383 w 2013383"/>
                <a:gd name="connsiteY0" fmla="*/ 1905 h 3167738"/>
                <a:gd name="connsiteX1" fmla="*/ 862825 w 2013383"/>
                <a:gd name="connsiteY1" fmla="*/ 0 h 3167738"/>
                <a:gd name="connsiteX2" fmla="*/ 0 w 2013383"/>
                <a:gd name="connsiteY2" fmla="*/ 1898088 h 3167738"/>
                <a:gd name="connsiteX3" fmla="*/ 641930 w 2013383"/>
                <a:gd name="connsiteY3" fmla="*/ 3167738 h 3167738"/>
                <a:gd name="connsiteX4" fmla="*/ 2010471 w 2013383"/>
                <a:gd name="connsiteY4" fmla="*/ 3167738 h 3167738"/>
                <a:gd name="connsiteX0" fmla="*/ 2011488 w 2011488"/>
                <a:gd name="connsiteY0" fmla="*/ 1905 h 3167738"/>
                <a:gd name="connsiteX1" fmla="*/ 862825 w 2011488"/>
                <a:gd name="connsiteY1" fmla="*/ 0 h 3167738"/>
                <a:gd name="connsiteX2" fmla="*/ 0 w 2011488"/>
                <a:gd name="connsiteY2" fmla="*/ 1898088 h 3167738"/>
                <a:gd name="connsiteX3" fmla="*/ 641930 w 2011488"/>
                <a:gd name="connsiteY3" fmla="*/ 3167738 h 3167738"/>
                <a:gd name="connsiteX4" fmla="*/ 2010471 w 2011488"/>
                <a:gd name="connsiteY4" fmla="*/ 3167738 h 3167738"/>
                <a:gd name="connsiteX0" fmla="*/ 2009593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1489 w 2011489"/>
                <a:gd name="connsiteY0" fmla="*/ 1905 h 3167738"/>
                <a:gd name="connsiteX1" fmla="*/ 862825 w 2011489"/>
                <a:gd name="connsiteY1" fmla="*/ 0 h 3167738"/>
                <a:gd name="connsiteX2" fmla="*/ 0 w 2011489"/>
                <a:gd name="connsiteY2" fmla="*/ 1898088 h 3167738"/>
                <a:gd name="connsiteX3" fmla="*/ 641930 w 2011489"/>
                <a:gd name="connsiteY3" fmla="*/ 3167738 h 3167738"/>
                <a:gd name="connsiteX4" fmla="*/ 2010471 w 2011489"/>
                <a:gd name="connsiteY4" fmla="*/ 3167738 h 3167738"/>
                <a:gd name="connsiteX0" fmla="*/ 2009594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09594 w 2009594"/>
                <a:gd name="connsiteY0" fmla="*/ 1905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9643"/>
                <a:gd name="connsiteX1" fmla="*/ 862825 w 2009594"/>
                <a:gd name="connsiteY1" fmla="*/ 1905 h 3169643"/>
                <a:gd name="connsiteX2" fmla="*/ 0 w 2009594"/>
                <a:gd name="connsiteY2" fmla="*/ 1899993 h 3169643"/>
                <a:gd name="connsiteX3" fmla="*/ 641930 w 2009594"/>
                <a:gd name="connsiteY3" fmla="*/ 3169643 h 3169643"/>
                <a:gd name="connsiteX4" fmla="*/ 2008576 w 2009594"/>
                <a:gd name="connsiteY4" fmla="*/ 3169643 h 3169643"/>
                <a:gd name="connsiteX0" fmla="*/ 2009594 w 2009594"/>
                <a:gd name="connsiteY0" fmla="*/ 0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1905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5833"/>
                <a:gd name="connsiteX1" fmla="*/ 860930 w 2009594"/>
                <a:gd name="connsiteY1" fmla="*/ 0 h 3165833"/>
                <a:gd name="connsiteX2" fmla="*/ 0 w 2009594"/>
                <a:gd name="connsiteY2" fmla="*/ 1896183 h 3165833"/>
                <a:gd name="connsiteX3" fmla="*/ 641930 w 2009594"/>
                <a:gd name="connsiteY3" fmla="*/ 3165833 h 3165833"/>
                <a:gd name="connsiteX4" fmla="*/ 2008576 w 2009594"/>
                <a:gd name="connsiteY4" fmla="*/ 3165833 h 316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594" h="3165833">
                  <a:moveTo>
                    <a:pt x="2009594" y="0"/>
                  </a:moveTo>
                  <a:lnTo>
                    <a:pt x="860930" y="0"/>
                  </a:lnTo>
                  <a:lnTo>
                    <a:pt x="0" y="1896183"/>
                  </a:lnTo>
                  <a:lnTo>
                    <a:pt x="641930" y="3165833"/>
                  </a:lnTo>
                  <a:lnTo>
                    <a:pt x="2008576" y="3165833"/>
                  </a:lnTo>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29" name="Volný tvar 28"/>
            <p:cNvSpPr/>
            <p:nvPr userDrawn="1"/>
          </p:nvSpPr>
          <p:spPr>
            <a:xfrm>
              <a:off x="9316886" y="3164324"/>
              <a:ext cx="1375107" cy="2704206"/>
            </a:xfrm>
            <a:custGeom>
              <a:avLst/>
              <a:gdLst>
                <a:gd name="connsiteX0" fmla="*/ 1134533 w 1134533"/>
                <a:gd name="connsiteY0" fmla="*/ 0 h 2243667"/>
                <a:gd name="connsiteX1" fmla="*/ 1134533 w 1134533"/>
                <a:gd name="connsiteY1" fmla="*/ 2243667 h 2243667"/>
                <a:gd name="connsiteX2" fmla="*/ 0 w 1134533"/>
                <a:gd name="connsiteY2" fmla="*/ 0 h 2243667"/>
                <a:gd name="connsiteX0" fmla="*/ 1134533 w 1138298"/>
                <a:gd name="connsiteY0" fmla="*/ 0 h 3398339"/>
                <a:gd name="connsiteX1" fmla="*/ 1138298 w 1138298"/>
                <a:gd name="connsiteY1" fmla="*/ 3398339 h 3398339"/>
                <a:gd name="connsiteX2" fmla="*/ 0 w 1138298"/>
                <a:gd name="connsiteY2" fmla="*/ 0 h 3398339"/>
                <a:gd name="connsiteX0" fmla="*/ 1134533 w 1138298"/>
                <a:gd name="connsiteY0" fmla="*/ 693566 h 3398339"/>
                <a:gd name="connsiteX1" fmla="*/ 1138298 w 1138298"/>
                <a:gd name="connsiteY1" fmla="*/ 3398339 h 3398339"/>
                <a:gd name="connsiteX2" fmla="*/ 0 w 1138298"/>
                <a:gd name="connsiteY2" fmla="*/ 0 h 3398339"/>
                <a:gd name="connsiteX0" fmla="*/ 1356642 w 1360407"/>
                <a:gd name="connsiteY0" fmla="*/ 0 h 2704773"/>
                <a:gd name="connsiteX1" fmla="*/ 1360407 w 1360407"/>
                <a:gd name="connsiteY1" fmla="*/ 2704773 h 2704773"/>
                <a:gd name="connsiteX2" fmla="*/ 0 w 1360407"/>
                <a:gd name="connsiteY2" fmla="*/ 0 h 2704773"/>
                <a:gd name="connsiteX0" fmla="*/ 1356642 w 1358525"/>
                <a:gd name="connsiteY0" fmla="*/ 0 h 2704773"/>
                <a:gd name="connsiteX1" fmla="*/ 1358525 w 1358525"/>
                <a:gd name="connsiteY1" fmla="*/ 2704773 h 2704773"/>
                <a:gd name="connsiteX2" fmla="*/ 0 w 1358525"/>
                <a:gd name="connsiteY2" fmla="*/ 0 h 2704773"/>
                <a:gd name="connsiteX0" fmla="*/ 1358524 w 1358705"/>
                <a:gd name="connsiteY0" fmla="*/ 0 h 2704773"/>
                <a:gd name="connsiteX1" fmla="*/ 1358525 w 1358705"/>
                <a:gd name="connsiteY1" fmla="*/ 2704773 h 2704773"/>
                <a:gd name="connsiteX2" fmla="*/ 0 w 1358705"/>
                <a:gd name="connsiteY2" fmla="*/ 0 h 2704773"/>
                <a:gd name="connsiteX0" fmla="*/ 1360406 w 1360587"/>
                <a:gd name="connsiteY0" fmla="*/ 0 h 2704773"/>
                <a:gd name="connsiteX1" fmla="*/ 1360407 w 1360587"/>
                <a:gd name="connsiteY1" fmla="*/ 2704773 h 2704773"/>
                <a:gd name="connsiteX2" fmla="*/ 0 w 1360587"/>
                <a:gd name="connsiteY2" fmla="*/ 0 h 2704773"/>
                <a:gd name="connsiteX0" fmla="*/ 1358524 w 1360407"/>
                <a:gd name="connsiteY0" fmla="*/ 0 h 2704773"/>
                <a:gd name="connsiteX1" fmla="*/ 1360407 w 1360407"/>
                <a:gd name="connsiteY1" fmla="*/ 2704773 h 2704773"/>
                <a:gd name="connsiteX2" fmla="*/ 0 w 1360407"/>
                <a:gd name="connsiteY2" fmla="*/ 0 h 2704773"/>
                <a:gd name="connsiteX0" fmla="*/ 1358524 w 1358705"/>
                <a:gd name="connsiteY0" fmla="*/ 0 h 2704773"/>
                <a:gd name="connsiteX1" fmla="*/ 1358525 w 1358705"/>
                <a:gd name="connsiteY1" fmla="*/ 2704773 h 2704773"/>
                <a:gd name="connsiteX2" fmla="*/ 0 w 1358705"/>
                <a:gd name="connsiteY2" fmla="*/ 0 h 2704773"/>
              </a:gdLst>
              <a:ahLst/>
              <a:cxnLst>
                <a:cxn ang="0">
                  <a:pos x="connsiteX0" y="connsiteY0"/>
                </a:cxn>
                <a:cxn ang="0">
                  <a:pos x="connsiteX1" y="connsiteY1"/>
                </a:cxn>
                <a:cxn ang="0">
                  <a:pos x="connsiteX2" y="connsiteY2"/>
                </a:cxn>
              </a:cxnLst>
              <a:rect l="l" t="t" r="r" b="b"/>
              <a:pathLst>
                <a:path w="1358705" h="2704773">
                  <a:moveTo>
                    <a:pt x="1358524" y="0"/>
                  </a:moveTo>
                  <a:cubicBezTo>
                    <a:pt x="1359152" y="901591"/>
                    <a:pt x="1357897" y="1803182"/>
                    <a:pt x="1358525" y="2704773"/>
                  </a:cubicBezTo>
                  <a:cubicBezTo>
                    <a:pt x="980347" y="1956884"/>
                    <a:pt x="378178" y="747889"/>
                    <a:pt x="0" y="0"/>
                  </a:cubicBezTo>
                </a:path>
              </a:pathLst>
            </a:custGeom>
            <a:gradFill>
              <a:gsLst>
                <a:gs pos="0">
                  <a:schemeClr val="bg1"/>
                </a:gs>
                <a:gs pos="100000">
                  <a:schemeClr val="bg1">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0" name="Volný tvar 29"/>
            <p:cNvSpPr/>
            <p:nvPr userDrawn="1"/>
          </p:nvSpPr>
          <p:spPr>
            <a:xfrm>
              <a:off x="2381428" y="0"/>
              <a:ext cx="7155030" cy="1892480"/>
            </a:xfrm>
            <a:custGeom>
              <a:avLst/>
              <a:gdLst>
                <a:gd name="connsiteX0" fmla="*/ 7442200 w 8144934"/>
                <a:gd name="connsiteY0" fmla="*/ 1540934 h 1540934"/>
                <a:gd name="connsiteX1" fmla="*/ 8144934 w 8144934"/>
                <a:gd name="connsiteY1" fmla="*/ 0 h 1540934"/>
                <a:gd name="connsiteX2" fmla="*/ 0 w 8144934"/>
                <a:gd name="connsiteY2" fmla="*/ 0 h 1540934"/>
                <a:gd name="connsiteX0" fmla="*/ 7438390 w 8144934"/>
                <a:gd name="connsiteY0" fmla="*/ 1540934 h 1540934"/>
                <a:gd name="connsiteX1" fmla="*/ 8144934 w 8144934"/>
                <a:gd name="connsiteY1" fmla="*/ 0 h 1540934"/>
                <a:gd name="connsiteX2" fmla="*/ 0 w 8144934"/>
                <a:gd name="connsiteY2" fmla="*/ 0 h 1540934"/>
                <a:gd name="connsiteX0" fmla="*/ 7032565 w 8144934"/>
                <a:gd name="connsiteY0" fmla="*/ 1882340 h 1882340"/>
                <a:gd name="connsiteX1" fmla="*/ 8144934 w 8144934"/>
                <a:gd name="connsiteY1" fmla="*/ 0 h 1882340"/>
                <a:gd name="connsiteX2" fmla="*/ 0 w 8144934"/>
                <a:gd name="connsiteY2" fmla="*/ 0 h 1882340"/>
                <a:gd name="connsiteX0" fmla="*/ 7030660 w 8144934"/>
                <a:gd name="connsiteY0" fmla="*/ 1882340 h 1882340"/>
                <a:gd name="connsiteX1" fmla="*/ 8144934 w 8144934"/>
                <a:gd name="connsiteY1" fmla="*/ 0 h 1882340"/>
                <a:gd name="connsiteX2" fmla="*/ 0 w 8144934"/>
                <a:gd name="connsiteY2" fmla="*/ 0 h 1882340"/>
                <a:gd name="connsiteX0" fmla="*/ 7030660 w 7895342"/>
                <a:gd name="connsiteY0" fmla="*/ 1882340 h 1882340"/>
                <a:gd name="connsiteX1" fmla="*/ 7895342 w 7895342"/>
                <a:gd name="connsiteY1" fmla="*/ 0 h 1882340"/>
                <a:gd name="connsiteX2" fmla="*/ 0 w 7895342"/>
                <a:gd name="connsiteY2" fmla="*/ 0 h 1882340"/>
                <a:gd name="connsiteX0" fmla="*/ 6272357 w 7137039"/>
                <a:gd name="connsiteY0" fmla="*/ 1884237 h 1884237"/>
                <a:gd name="connsiteX1" fmla="*/ 7137039 w 7137039"/>
                <a:gd name="connsiteY1" fmla="*/ 1897 h 1884237"/>
                <a:gd name="connsiteX2" fmla="*/ 0 w 7137039"/>
                <a:gd name="connsiteY2" fmla="*/ 0 h 1884237"/>
                <a:gd name="connsiteX0" fmla="*/ 6276168 w 7137039"/>
                <a:gd name="connsiteY0" fmla="*/ 1882340 h 1882340"/>
                <a:gd name="connsiteX1" fmla="*/ 7137039 w 7137039"/>
                <a:gd name="connsiteY1" fmla="*/ 1897 h 1882340"/>
                <a:gd name="connsiteX2" fmla="*/ 0 w 7137039"/>
                <a:gd name="connsiteY2" fmla="*/ 0 h 1882340"/>
                <a:gd name="connsiteX0" fmla="*/ 6276168 w 7137039"/>
                <a:gd name="connsiteY0" fmla="*/ 1886133 h 1886133"/>
                <a:gd name="connsiteX1" fmla="*/ 7137039 w 7137039"/>
                <a:gd name="connsiteY1" fmla="*/ 1897 h 1886133"/>
                <a:gd name="connsiteX2" fmla="*/ 0 w 7137039"/>
                <a:gd name="connsiteY2" fmla="*/ 0 h 1886133"/>
                <a:gd name="connsiteX0" fmla="*/ 6291410 w 7152281"/>
                <a:gd name="connsiteY0" fmla="*/ 1884236 h 1884236"/>
                <a:gd name="connsiteX1" fmla="*/ 7152281 w 7152281"/>
                <a:gd name="connsiteY1" fmla="*/ 0 h 1884236"/>
                <a:gd name="connsiteX2" fmla="*/ 0 w 7152281"/>
                <a:gd name="connsiteY2" fmla="*/ 0 h 1884236"/>
                <a:gd name="connsiteX0" fmla="*/ 6293315 w 7154186"/>
                <a:gd name="connsiteY0" fmla="*/ 1884236 h 1884236"/>
                <a:gd name="connsiteX1" fmla="*/ 7154186 w 7154186"/>
                <a:gd name="connsiteY1" fmla="*/ 0 h 1884236"/>
                <a:gd name="connsiteX2" fmla="*/ 0 w 7154186"/>
                <a:gd name="connsiteY2" fmla="*/ 0 h 1884236"/>
                <a:gd name="connsiteX0" fmla="*/ 6295220 w 7156091"/>
                <a:gd name="connsiteY0" fmla="*/ 1884236 h 1884236"/>
                <a:gd name="connsiteX1" fmla="*/ 7156091 w 7156091"/>
                <a:gd name="connsiteY1" fmla="*/ 0 h 1884236"/>
                <a:gd name="connsiteX2" fmla="*/ 0 w 7156091"/>
                <a:gd name="connsiteY2" fmla="*/ 0 h 1884236"/>
              </a:gdLst>
              <a:ahLst/>
              <a:cxnLst>
                <a:cxn ang="0">
                  <a:pos x="connsiteX0" y="connsiteY0"/>
                </a:cxn>
                <a:cxn ang="0">
                  <a:pos x="connsiteX1" y="connsiteY1"/>
                </a:cxn>
                <a:cxn ang="0">
                  <a:pos x="connsiteX2" y="connsiteY2"/>
                </a:cxn>
              </a:cxnLst>
              <a:rect l="l" t="t" r="r" b="b"/>
              <a:pathLst>
                <a:path w="7156091" h="1884236">
                  <a:moveTo>
                    <a:pt x="6295220" y="1884236"/>
                  </a:moveTo>
                  <a:lnTo>
                    <a:pt x="7156091" y="0"/>
                  </a:lnTo>
                  <a:lnTo>
                    <a:pt x="0" y="0"/>
                  </a:lnTo>
                </a:path>
              </a:pathLst>
            </a:cu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1" name="Volný tvar 30"/>
            <p:cNvSpPr/>
            <p:nvPr userDrawn="1"/>
          </p:nvSpPr>
          <p:spPr>
            <a:xfrm>
              <a:off x="-1" y="-1905"/>
              <a:ext cx="8678465" cy="4438313"/>
            </a:xfrm>
            <a:custGeom>
              <a:avLst/>
              <a:gdLst>
                <a:gd name="connsiteX0" fmla="*/ 9084733 w 9084733"/>
                <a:gd name="connsiteY0" fmla="*/ 1549400 h 3623734"/>
                <a:gd name="connsiteX1" fmla="*/ 1659466 w 9084733"/>
                <a:gd name="connsiteY1" fmla="*/ 0 h 3623734"/>
                <a:gd name="connsiteX2" fmla="*/ 0 w 9084733"/>
                <a:gd name="connsiteY2" fmla="*/ 0 h 3623734"/>
                <a:gd name="connsiteX3" fmla="*/ 0 w 9084733"/>
                <a:gd name="connsiteY3" fmla="*/ 3623734 h 3623734"/>
                <a:gd name="connsiteX0" fmla="*/ 9071408 w 9071408"/>
                <a:gd name="connsiteY0" fmla="*/ 1547495 h 3623734"/>
                <a:gd name="connsiteX1" fmla="*/ 1659466 w 9071408"/>
                <a:gd name="connsiteY1" fmla="*/ 0 h 3623734"/>
                <a:gd name="connsiteX2" fmla="*/ 0 w 9071408"/>
                <a:gd name="connsiteY2" fmla="*/ 0 h 3623734"/>
                <a:gd name="connsiteX3" fmla="*/ 0 w 9071408"/>
                <a:gd name="connsiteY3" fmla="*/ 3623734 h 3623734"/>
                <a:gd name="connsiteX0" fmla="*/ 9073312 w 9073312"/>
                <a:gd name="connsiteY0" fmla="*/ 1547495 h 4437340"/>
                <a:gd name="connsiteX1" fmla="*/ 1661370 w 9073312"/>
                <a:gd name="connsiteY1" fmla="*/ 0 h 4437340"/>
                <a:gd name="connsiteX2" fmla="*/ 1904 w 9073312"/>
                <a:gd name="connsiteY2" fmla="*/ 0 h 4437340"/>
                <a:gd name="connsiteX3" fmla="*/ 0 w 9073312"/>
                <a:gd name="connsiteY3" fmla="*/ 4437340 h 4437340"/>
                <a:gd name="connsiteX0" fmla="*/ 9071408 w 9071408"/>
                <a:gd name="connsiteY0" fmla="*/ 1547495 h 4437340"/>
                <a:gd name="connsiteX1" fmla="*/ 1659466 w 9071408"/>
                <a:gd name="connsiteY1" fmla="*/ 0 h 4437340"/>
                <a:gd name="connsiteX2" fmla="*/ 0 w 9071408"/>
                <a:gd name="connsiteY2" fmla="*/ 0 h 4437340"/>
                <a:gd name="connsiteX3" fmla="*/ 0 w 9071408"/>
                <a:gd name="connsiteY3" fmla="*/ 4437340 h 4437340"/>
                <a:gd name="connsiteX0" fmla="*/ 8667864 w 8667864"/>
                <a:gd name="connsiteY0" fmla="*/ 1894278 h 4437340"/>
                <a:gd name="connsiteX1" fmla="*/ 1659466 w 8667864"/>
                <a:gd name="connsiteY1" fmla="*/ 0 h 4437340"/>
                <a:gd name="connsiteX2" fmla="*/ 0 w 8667864"/>
                <a:gd name="connsiteY2" fmla="*/ 0 h 4437340"/>
                <a:gd name="connsiteX3" fmla="*/ 0 w 8667864"/>
                <a:gd name="connsiteY3" fmla="*/ 4437340 h 4437340"/>
                <a:gd name="connsiteX0" fmla="*/ 8667864 w 8667864"/>
                <a:gd name="connsiteY0" fmla="*/ 1896183 h 4439245"/>
                <a:gd name="connsiteX1" fmla="*/ 2373282 w 8667864"/>
                <a:gd name="connsiteY1" fmla="*/ 0 h 4439245"/>
                <a:gd name="connsiteX2" fmla="*/ 0 w 8667864"/>
                <a:gd name="connsiteY2" fmla="*/ 1905 h 4439245"/>
                <a:gd name="connsiteX3" fmla="*/ 0 w 8667864"/>
                <a:gd name="connsiteY3" fmla="*/ 4439245 h 4439245"/>
                <a:gd name="connsiteX0" fmla="*/ 8671671 w 8671671"/>
                <a:gd name="connsiteY0" fmla="*/ 1894278 h 4439245"/>
                <a:gd name="connsiteX1" fmla="*/ 2373282 w 8671671"/>
                <a:gd name="connsiteY1" fmla="*/ 0 h 4439245"/>
                <a:gd name="connsiteX2" fmla="*/ 0 w 8671671"/>
                <a:gd name="connsiteY2" fmla="*/ 1905 h 4439245"/>
                <a:gd name="connsiteX3" fmla="*/ 0 w 8671671"/>
                <a:gd name="connsiteY3" fmla="*/ 4439245 h 4439245"/>
              </a:gdLst>
              <a:ahLst/>
              <a:cxnLst>
                <a:cxn ang="0">
                  <a:pos x="connsiteX0" y="connsiteY0"/>
                </a:cxn>
                <a:cxn ang="0">
                  <a:pos x="connsiteX1" y="connsiteY1"/>
                </a:cxn>
                <a:cxn ang="0">
                  <a:pos x="connsiteX2" y="connsiteY2"/>
                </a:cxn>
                <a:cxn ang="0">
                  <a:pos x="connsiteX3" y="connsiteY3"/>
                </a:cxn>
              </a:cxnLst>
              <a:rect l="l" t="t" r="r" b="b"/>
              <a:pathLst>
                <a:path w="8671671" h="4439245">
                  <a:moveTo>
                    <a:pt x="8671671" y="1894278"/>
                  </a:moveTo>
                  <a:lnTo>
                    <a:pt x="2373282" y="0"/>
                  </a:lnTo>
                  <a:lnTo>
                    <a:pt x="0" y="1905"/>
                  </a:lnTo>
                  <a:lnTo>
                    <a:pt x="0" y="4439245"/>
                  </a:lnTo>
                </a:path>
              </a:pathLst>
            </a:cu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pic>
          <p:nvPicPr>
            <p:cNvPr id="32" name="Obrázek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19849" y="1054894"/>
              <a:ext cx="1224000" cy="1622866"/>
            </a:xfrm>
            <a:prstGeom prst="rect">
              <a:avLst/>
            </a:prstGeom>
          </p:spPr>
        </p:pic>
      </p:grpSp>
      <p:graphicFrame>
        <p:nvGraphicFramePr>
          <p:cNvPr id="3" name="Objek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99" imgH="398" progId="TCLayout.ActiveDocument.1">
                  <p:embed/>
                </p:oleObj>
              </mc:Choice>
              <mc:Fallback>
                <p:oleObj name="think-cell Slide" r:id="rId5" imgW="399" imgH="398" progId="TCLayout.ActiveDocument.1">
                  <p:embed/>
                  <p:pic>
                    <p:nvPicPr>
                      <p:cNvPr id="3" name="Objekt 2"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Nadpis 6"/>
          <p:cNvSpPr>
            <a:spLocks noGrp="1"/>
          </p:cNvSpPr>
          <p:nvPr>
            <p:ph type="title" hasCustomPrompt="1"/>
          </p:nvPr>
        </p:nvSpPr>
        <p:spPr>
          <a:xfrm>
            <a:off x="342848" y="1638000"/>
            <a:ext cx="8278865" cy="539887"/>
          </a:xfrm>
        </p:spPr>
        <p:txBody>
          <a:bodyPr anchor="t" anchorCtr="0">
            <a:noAutofit/>
          </a:bodyPr>
          <a:lstStyle>
            <a:lvl1pPr>
              <a:lnSpc>
                <a:spcPts val="4400"/>
              </a:lnSpc>
              <a:defRPr sz="3600" cap="all" baseline="0">
                <a:solidFill>
                  <a:schemeClr val="bg1"/>
                </a:solidFill>
                <a:latin typeface="SKODA Next" panose="020B0504020603020204" pitchFamily="34" charset="0"/>
              </a:defRPr>
            </a:lvl1pPr>
          </a:lstStyle>
          <a:p>
            <a:r>
              <a:rPr lang="cs-CZ" noProof="0" dirty="0"/>
              <a:t>Název prezentace</a:t>
            </a:r>
          </a:p>
        </p:txBody>
      </p:sp>
      <p:sp>
        <p:nvSpPr>
          <p:cNvPr id="15" name="Zástupný symbol pro text 14"/>
          <p:cNvSpPr>
            <a:spLocks noGrp="1"/>
          </p:cNvSpPr>
          <p:nvPr>
            <p:ph type="body" sz="quarter" idx="13" hasCustomPrompt="1"/>
          </p:nvPr>
        </p:nvSpPr>
        <p:spPr>
          <a:xfrm>
            <a:off x="341949" y="5506843"/>
            <a:ext cx="5183231" cy="323932"/>
          </a:xfrm>
        </p:spPr>
        <p:txBody>
          <a:bodyPr vert="horz" lIns="0" tIns="0" rIns="0" bIns="0" rtlCol="0" anchor="b" anchorCtr="0">
            <a:noAutofit/>
          </a:bodyPr>
          <a:lstStyle>
            <a:lvl1pPr marL="180000" indent="-180000">
              <a:buNone/>
              <a:defRPr lang="cs-CZ" sz="2000" noProof="0" dirty="0">
                <a:solidFill>
                  <a:schemeClr val="bg1"/>
                </a:solidFill>
                <a:effectLst>
                  <a:glow rad="254000">
                    <a:schemeClr val="tx1">
                      <a:alpha val="34000"/>
                    </a:schemeClr>
                  </a:glow>
                </a:effectLst>
              </a:defRPr>
            </a:lvl1pPr>
          </a:lstStyle>
          <a:p>
            <a:pPr marL="0" lvl="0" indent="0">
              <a:lnSpc>
                <a:spcPts val="2400"/>
              </a:lnSpc>
            </a:pPr>
            <a:r>
              <a:rPr lang="cs-CZ" noProof="0" dirty="0"/>
              <a:t>Jméno</a:t>
            </a:r>
          </a:p>
        </p:txBody>
      </p:sp>
      <p:sp>
        <p:nvSpPr>
          <p:cNvPr id="17" name="Zástupný symbol pro text 16"/>
          <p:cNvSpPr>
            <a:spLocks noGrp="1"/>
          </p:cNvSpPr>
          <p:nvPr>
            <p:ph type="body" sz="quarter" idx="14" hasCustomPrompt="1"/>
          </p:nvPr>
        </p:nvSpPr>
        <p:spPr>
          <a:xfrm>
            <a:off x="341949" y="6298677"/>
            <a:ext cx="5183231" cy="323932"/>
          </a:xfrm>
        </p:spPr>
        <p:txBody>
          <a:bodyPr vert="horz" lIns="0" tIns="0" rIns="0" bIns="0" rtlCol="0" anchor="b" anchorCtr="0">
            <a:noAutofit/>
          </a:bodyPr>
          <a:lstStyle>
            <a:lvl1pPr marL="180000" indent="-180000">
              <a:buNone/>
              <a:defRPr lang="cs-CZ" sz="2000" noProof="0" dirty="0">
                <a:solidFill>
                  <a:schemeClr val="bg1"/>
                </a:solidFill>
                <a:effectLst>
                  <a:glow rad="254000">
                    <a:schemeClr val="tx1">
                      <a:alpha val="34000"/>
                    </a:schemeClr>
                  </a:glow>
                </a:effectLst>
              </a:defRPr>
            </a:lvl1pPr>
          </a:lstStyle>
          <a:p>
            <a:pPr marL="0" lvl="0" indent="0">
              <a:lnSpc>
                <a:spcPts val="2400"/>
              </a:lnSpc>
            </a:pPr>
            <a:r>
              <a:rPr lang="cs-CZ" sz="2000" noProof="0" dirty="0"/>
              <a:t>XX.XX.2017</a:t>
            </a:r>
            <a:endParaRPr lang="cs-CZ" noProof="0" dirty="0"/>
          </a:p>
        </p:txBody>
      </p:sp>
      <p:sp>
        <p:nvSpPr>
          <p:cNvPr id="19" name="Zástupný symbol pro text 18"/>
          <p:cNvSpPr>
            <a:spLocks noGrp="1"/>
          </p:cNvSpPr>
          <p:nvPr>
            <p:ph type="body" sz="quarter" idx="15" hasCustomPrompt="1"/>
          </p:nvPr>
        </p:nvSpPr>
        <p:spPr>
          <a:xfrm>
            <a:off x="342850" y="2358000"/>
            <a:ext cx="6550076" cy="719849"/>
          </a:xfrm>
        </p:spPr>
        <p:txBody>
          <a:bodyPr>
            <a:noAutofit/>
          </a:bodyPr>
          <a:lstStyle>
            <a:lvl1pPr marL="0" indent="0">
              <a:lnSpc>
                <a:spcPts val="2400"/>
              </a:lnSpc>
              <a:buFont typeface="Arial" panose="020B0604020202020204" pitchFamily="34" charset="0"/>
              <a:buNone/>
              <a:defRPr sz="2000">
                <a:solidFill>
                  <a:schemeClr val="bg1"/>
                </a:solidFill>
                <a:latin typeface="SKODA Next" panose="020B0504020603020204" pitchFamily="34" charset="0"/>
              </a:defRPr>
            </a:lvl1pPr>
          </a:lstStyle>
          <a:p>
            <a:pPr lvl="0"/>
            <a:r>
              <a:rPr lang="cs-CZ" noProof="0" dirty="0"/>
              <a:t>Dodatečné informace</a:t>
            </a:r>
          </a:p>
        </p:txBody>
      </p:sp>
      <p:sp>
        <p:nvSpPr>
          <p:cNvPr id="21" name="Zástupný symbol pro text 20"/>
          <p:cNvSpPr>
            <a:spLocks noGrp="1"/>
          </p:cNvSpPr>
          <p:nvPr>
            <p:ph type="body" sz="quarter" idx="16" hasCustomPrompt="1"/>
          </p:nvPr>
        </p:nvSpPr>
        <p:spPr>
          <a:xfrm>
            <a:off x="341949" y="5902760"/>
            <a:ext cx="5183231" cy="323932"/>
          </a:xfrm>
        </p:spPr>
        <p:txBody>
          <a:bodyPr vert="horz" lIns="0" tIns="0" rIns="0" bIns="0" rtlCol="0" anchor="b" anchorCtr="0">
            <a:noAutofit/>
          </a:bodyPr>
          <a:lstStyle>
            <a:lvl1pPr marL="180000" indent="-180000">
              <a:buNone/>
              <a:defRPr lang="cs-CZ" sz="2000" noProof="0" dirty="0">
                <a:solidFill>
                  <a:schemeClr val="bg1"/>
                </a:solidFill>
                <a:effectLst>
                  <a:glow rad="254000">
                    <a:schemeClr val="tx1">
                      <a:alpha val="34000"/>
                    </a:schemeClr>
                  </a:glow>
                </a:effectLst>
              </a:defRPr>
            </a:lvl1pPr>
          </a:lstStyle>
          <a:p>
            <a:pPr marL="0" lvl="0" indent="0">
              <a:lnSpc>
                <a:spcPts val="2400"/>
              </a:lnSpc>
            </a:pPr>
            <a:r>
              <a:rPr lang="cs-CZ" noProof="0" dirty="0"/>
              <a:t>Oddělení</a:t>
            </a:r>
          </a:p>
        </p:txBody>
      </p:sp>
      <p:sp>
        <p:nvSpPr>
          <p:cNvPr id="22" name="Zástupný symbol pro číslo snímku 5"/>
          <p:cNvSpPr>
            <a:spLocks noGrp="1"/>
          </p:cNvSpPr>
          <p:nvPr>
            <p:ph type="sldNum" sz="quarter" idx="10"/>
          </p:nvPr>
        </p:nvSpPr>
        <p:spPr>
          <a:xfrm>
            <a:off x="342849" y="7162496"/>
            <a:ext cx="269960" cy="179962"/>
          </a:xfrm>
        </p:spPr>
        <p:txBody>
          <a:bodyPr/>
          <a:lstStyle>
            <a:lvl1pPr>
              <a:defRPr>
                <a:noFill/>
                <a:latin typeface="SKODA Next" panose="020B0504020603020204" pitchFamily="34" charset="0"/>
              </a:defRPr>
            </a:lvl1pPr>
          </a:lstStyle>
          <a:p>
            <a:fld id="{1E956721-BB38-4972-8ACD-5A2C9377E3B4}" type="slidenum">
              <a:rPr lang="cs-CZ" noProof="0" smtClean="0"/>
              <a:pPr/>
              <a:t>‹#›</a:t>
            </a:fld>
            <a:endParaRPr lang="cs-CZ" noProof="0" dirty="0"/>
          </a:p>
        </p:txBody>
      </p:sp>
      <p:sp>
        <p:nvSpPr>
          <p:cNvPr id="23" name="Zástupný symbol pro zápatí 6"/>
          <p:cNvSpPr>
            <a:spLocks noGrp="1"/>
          </p:cNvSpPr>
          <p:nvPr>
            <p:ph type="ftr" sz="quarter" idx="11"/>
          </p:nvPr>
        </p:nvSpPr>
        <p:spPr>
          <a:xfrm>
            <a:off x="719894" y="7162496"/>
            <a:ext cx="6173596" cy="179962"/>
          </a:xfrm>
        </p:spPr>
        <p:txBody>
          <a:bodyPr/>
          <a:lstStyle>
            <a:lvl1pPr>
              <a:defRPr>
                <a:noFill/>
                <a:latin typeface="SKODA Next" panose="020B0504020603020204" pitchFamily="34" charset="0"/>
              </a:defRPr>
            </a:lvl1pPr>
          </a:lstStyle>
          <a:p>
            <a:endParaRPr lang="cs-CZ" noProof="0" dirty="0"/>
          </a:p>
        </p:txBody>
      </p:sp>
      <p:sp>
        <p:nvSpPr>
          <p:cNvPr id="16" name="TextovéPole 15"/>
          <p:cNvSpPr txBox="1"/>
          <p:nvPr userDrawn="1"/>
        </p:nvSpPr>
        <p:spPr>
          <a:xfrm>
            <a:off x="9720000" y="7358802"/>
            <a:ext cx="720000" cy="108000"/>
          </a:xfrm>
          <a:prstGeom prst="rect">
            <a:avLst/>
          </a:prstGeom>
          <a:noFill/>
        </p:spPr>
        <p:txBody>
          <a:bodyPr wrap="square" lIns="0" tIns="0" rIns="0" bIns="0" rtlCol="0" anchor="b" anchorCtr="0">
            <a:normAutofit/>
          </a:bodyPr>
          <a:lstStyle/>
          <a:p>
            <a:pPr algn="r"/>
            <a:r>
              <a:rPr lang="en-GB" sz="700" b="1" noProof="0" dirty="0">
                <a:solidFill>
                  <a:schemeClr val="bg1"/>
                </a:solidFill>
                <a:effectLst>
                  <a:glow rad="254000">
                    <a:schemeClr val="tx1">
                      <a:alpha val="34000"/>
                    </a:schemeClr>
                  </a:glow>
                </a:effectLst>
                <a:latin typeface="SKODA Next" panose="020B0504020603020204" pitchFamily="34" charset="0"/>
                <a:cs typeface="Arial" panose="020B0604020202020204" pitchFamily="34" charset="0"/>
              </a:rPr>
              <a:t>CONFIDENTIAL</a:t>
            </a:r>
          </a:p>
        </p:txBody>
      </p:sp>
    </p:spTree>
    <p:extLst>
      <p:ext uri="{BB962C8B-B14F-4D97-AF65-F5344CB8AC3E}">
        <p14:creationId xmlns:p14="http://schemas.microsoft.com/office/powerpoint/2010/main" val="14498833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3" name="Zástupný symbol pro obsah 2"/>
          <p:cNvSpPr>
            <a:spLocks noGrp="1"/>
          </p:cNvSpPr>
          <p:nvPr userDrawn="1">
            <p:ph idx="1" hasCustomPrompt="1"/>
          </p:nvPr>
        </p:nvSpPr>
        <p:spPr>
          <a:xfrm>
            <a:off x="342850" y="1439561"/>
            <a:ext cx="10006115"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7" name="Zástupný symbol pro číslo snímku 6"/>
          <p:cNvSpPr>
            <a:spLocks noGrp="1"/>
          </p:cNvSpPr>
          <p:nvPr userDrawn="1">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userDrawn="1">
            <p:ph type="ftr" sz="quarter" idx="11"/>
          </p:nvPr>
        </p:nvSpPr>
        <p:spPr/>
        <p:txBody>
          <a:bodyPr/>
          <a:lstStyle>
            <a:lvl1pPr>
              <a:defRPr>
                <a:latin typeface="SKODA Next" panose="020B0504020603020204" pitchFamily="34" charset="0"/>
              </a:defRPr>
            </a:lvl1pPr>
          </a:lstStyle>
          <a:p>
            <a:endParaRPr lang="cs-CZ" dirty="0"/>
          </a:p>
        </p:txBody>
      </p:sp>
      <p:sp>
        <p:nvSpPr>
          <p:cNvPr id="29" name="Zástupný symbol pro text 28"/>
          <p:cNvSpPr>
            <a:spLocks noGrp="1"/>
          </p:cNvSpPr>
          <p:nvPr userDrawn="1">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0" name="Nadpis 29"/>
          <p:cNvSpPr>
            <a:spLocks noGrp="1"/>
          </p:cNvSpPr>
          <p:nvPr userDrawn="1">
            <p:ph type="title" hasCustomPrompt="1"/>
          </p:nvPr>
        </p:nvSpPr>
        <p:spPr/>
        <p:txBody>
          <a:bodyPr/>
          <a:lstStyle>
            <a:lvl1pPr>
              <a:defRPr/>
            </a:lvl1pPr>
          </a:lstStyle>
          <a:p>
            <a:r>
              <a:rPr lang="cs-CZ" noProof="0" dirty="0"/>
              <a:t>Nadpis (shrnutí stránky)</a:t>
            </a:r>
          </a:p>
        </p:txBody>
      </p:sp>
    </p:spTree>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3" name="Zástupný symbol pro obsah 2"/>
          <p:cNvSpPr>
            <a:spLocks noGrp="1"/>
          </p:cNvSpPr>
          <p:nvPr>
            <p:ph idx="1" hasCustomPrompt="1"/>
          </p:nvPr>
        </p:nvSpPr>
        <p:spPr>
          <a:xfrm>
            <a:off x="342851" y="1439561"/>
            <a:ext cx="4823697"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29"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0" name="Nadpis 29"/>
          <p:cNvSpPr>
            <a:spLocks noGrp="1"/>
          </p:cNvSpPr>
          <p:nvPr>
            <p:ph type="title" hasCustomPrompt="1"/>
          </p:nvPr>
        </p:nvSpPr>
        <p:spPr/>
        <p:txBody>
          <a:bodyPr/>
          <a:lstStyle>
            <a:lvl1pPr>
              <a:defRPr/>
            </a:lvl1pPr>
          </a:lstStyle>
          <a:p>
            <a:r>
              <a:rPr lang="cs-CZ" noProof="0" dirty="0"/>
              <a:t>Nadpis (shrnutí stránky)</a:t>
            </a:r>
          </a:p>
        </p:txBody>
      </p:sp>
      <p:sp>
        <p:nvSpPr>
          <p:cNvPr id="9" name="Zástupný symbol pro obsah 2"/>
          <p:cNvSpPr>
            <a:spLocks noGrp="1"/>
          </p:cNvSpPr>
          <p:nvPr>
            <p:ph idx="13" hasCustomPrompt="1"/>
          </p:nvPr>
        </p:nvSpPr>
        <p:spPr>
          <a:xfrm>
            <a:off x="5525268" y="1439561"/>
            <a:ext cx="4823697"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Tree>
    <p:extLst>
      <p:ext uri="{BB962C8B-B14F-4D97-AF65-F5344CB8AC3E}">
        <p14:creationId xmlns:p14="http://schemas.microsoft.com/office/powerpoint/2010/main" val="1191284181"/>
      </p:ext>
    </p:extLst>
  </p:cSld>
  <p:clrMapOvr>
    <a:masterClrMapping/>
  </p:clrMapOvr>
  <p:extLst>
    <p:ext uri="{DCECCB84-F9BA-43D5-87BE-67443E8EF086}">
      <p15:sldGuideLst xmlns:p15="http://schemas.microsoft.com/office/powerpoint/2012/main">
        <p15:guide id="1" pos="336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ntents">
    <p:spTree>
      <p:nvGrpSpPr>
        <p:cNvPr id="1" name=""/>
        <p:cNvGrpSpPr/>
        <p:nvPr/>
      </p:nvGrpSpPr>
      <p:grpSpPr>
        <a:xfrm>
          <a:off x="0" y="0"/>
          <a:ext cx="0" cy="0"/>
          <a:chOff x="0" y="0"/>
          <a:chExt cx="0" cy="0"/>
        </a:xfrm>
      </p:grpSpPr>
      <p:sp>
        <p:nvSpPr>
          <p:cNvPr id="3" name="Zástupný symbol pro obsah 2"/>
          <p:cNvSpPr>
            <a:spLocks noGrp="1"/>
          </p:cNvSpPr>
          <p:nvPr>
            <p:ph idx="1" hasCustomPrompt="1"/>
          </p:nvPr>
        </p:nvSpPr>
        <p:spPr>
          <a:xfrm>
            <a:off x="342849" y="1439561"/>
            <a:ext cx="3095166"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29"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0" name="Nadpis 29"/>
          <p:cNvSpPr>
            <a:spLocks noGrp="1"/>
          </p:cNvSpPr>
          <p:nvPr>
            <p:ph type="title" hasCustomPrompt="1"/>
          </p:nvPr>
        </p:nvSpPr>
        <p:spPr/>
        <p:txBody>
          <a:bodyPr/>
          <a:lstStyle>
            <a:lvl1pPr>
              <a:defRPr/>
            </a:lvl1pPr>
          </a:lstStyle>
          <a:p>
            <a:r>
              <a:rPr lang="cs-CZ" noProof="0" dirty="0"/>
              <a:t>Nadpis (shrnutí stránky)</a:t>
            </a:r>
          </a:p>
        </p:txBody>
      </p:sp>
      <p:sp>
        <p:nvSpPr>
          <p:cNvPr id="10" name="Zástupný symbol pro obsah 2"/>
          <p:cNvSpPr>
            <a:spLocks noGrp="1"/>
          </p:cNvSpPr>
          <p:nvPr>
            <p:ph idx="13" hasCustomPrompt="1"/>
          </p:nvPr>
        </p:nvSpPr>
        <p:spPr>
          <a:xfrm>
            <a:off x="3798324" y="1439561"/>
            <a:ext cx="3095166"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11" name="Zástupný symbol pro obsah 2"/>
          <p:cNvSpPr>
            <a:spLocks noGrp="1"/>
          </p:cNvSpPr>
          <p:nvPr>
            <p:ph idx="14" hasCustomPrompt="1"/>
          </p:nvPr>
        </p:nvSpPr>
        <p:spPr>
          <a:xfrm>
            <a:off x="7253800" y="1439561"/>
            <a:ext cx="3095166"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Tree>
    <p:extLst>
      <p:ext uri="{BB962C8B-B14F-4D97-AF65-F5344CB8AC3E}">
        <p14:creationId xmlns:p14="http://schemas.microsoft.com/office/powerpoint/2010/main" val="4133189704"/>
      </p:ext>
    </p:extLst>
  </p:cSld>
  <p:clrMapOvr>
    <a:masterClrMapping/>
  </p:clrMapOvr>
  <p:extLst>
    <p:ext uri="{DCECCB84-F9BA-43D5-87BE-67443E8EF086}">
      <p15:sldGuideLst xmlns:p15="http://schemas.microsoft.com/office/powerpoint/2012/main">
        <p15:guide id="1" pos="3368"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9" name="Zástupný symbol pro text 8"/>
          <p:cNvSpPr>
            <a:spLocks noGrp="1"/>
          </p:cNvSpPr>
          <p:nvPr>
            <p:ph type="body" sz="quarter" idx="12" hasCustomPrompt="1"/>
          </p:nvPr>
        </p:nvSpPr>
        <p:spPr>
          <a:xfrm>
            <a:off x="341950" y="1439560"/>
            <a:ext cx="3096065" cy="5183048"/>
          </a:xfrm>
        </p:spPr>
        <p:txBody>
          <a:bodyPr/>
          <a:lstStyle>
            <a:lvl1pPr>
              <a:defRPr>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11" name="Zástupný symbol pro obrázek 10"/>
          <p:cNvSpPr>
            <a:spLocks noGrp="1"/>
          </p:cNvSpPr>
          <p:nvPr>
            <p:ph type="pic" sz="quarter" idx="13" hasCustomPrompt="1"/>
          </p:nvPr>
        </p:nvSpPr>
        <p:spPr>
          <a:xfrm>
            <a:off x="3797436" y="1439561"/>
            <a:ext cx="6551028" cy="5183049"/>
          </a:xfrm>
        </p:spPr>
        <p:txBody>
          <a:bodyPr/>
          <a:lstStyle>
            <a:lvl1pPr algn="l">
              <a:buFontTx/>
              <a:buNone/>
              <a:defRPr>
                <a:latin typeface="SKODA Next" panose="020B0504020603020204" pitchFamily="34" charset="0"/>
              </a:defRPr>
            </a:lvl1pPr>
          </a:lstStyle>
          <a:p>
            <a:r>
              <a:rPr lang="cs-CZ" noProof="0" dirty="0"/>
              <a:t>Obrázek</a:t>
            </a:r>
          </a:p>
        </p:txBody>
      </p:sp>
      <p:sp>
        <p:nvSpPr>
          <p:cNvPr id="15" name="Zástupný symbol pro text 28"/>
          <p:cNvSpPr>
            <a:spLocks noGrp="1"/>
          </p:cNvSpPr>
          <p:nvPr>
            <p:ph type="body" sz="quarter" idx="14"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4" name="Nadpis 3"/>
          <p:cNvSpPr>
            <a:spLocks noGrp="1"/>
          </p:cNvSpPr>
          <p:nvPr>
            <p:ph type="title" hasCustomPrompt="1"/>
          </p:nvPr>
        </p:nvSpPr>
        <p:spPr/>
        <p:txBody>
          <a:bodyPr/>
          <a:lstStyle>
            <a:lvl1pPr>
              <a:defRPr/>
            </a:lvl1pPr>
          </a:lstStyle>
          <a:p>
            <a:r>
              <a:rPr lang="cs-CZ" noProof="0" dirty="0"/>
              <a:t>Nadpis (shrnutí stránky)</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11" name="Zástupný symbol pro obrázek 10"/>
          <p:cNvSpPr>
            <a:spLocks noGrp="1"/>
          </p:cNvSpPr>
          <p:nvPr>
            <p:ph type="pic" sz="quarter" idx="13" hasCustomPrompt="1"/>
          </p:nvPr>
        </p:nvSpPr>
        <p:spPr>
          <a:xfrm>
            <a:off x="341949" y="1439562"/>
            <a:ext cx="10006515" cy="5183685"/>
          </a:xfrm>
        </p:spPr>
        <p:txBody>
          <a:bodyPr/>
          <a:lstStyle>
            <a:lvl1pPr algn="l">
              <a:buFontTx/>
              <a:buNone/>
              <a:defRPr>
                <a:latin typeface="SKODA Next" panose="020B0504020603020204" pitchFamily="34" charset="0"/>
              </a:defRPr>
            </a:lvl1pPr>
          </a:lstStyle>
          <a:p>
            <a:r>
              <a:rPr lang="cs-CZ" noProof="0" dirty="0"/>
              <a:t>Obrázek</a:t>
            </a:r>
          </a:p>
        </p:txBody>
      </p:sp>
      <p:sp>
        <p:nvSpPr>
          <p:cNvPr id="13"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2" name="Nadpis 1"/>
          <p:cNvSpPr>
            <a:spLocks noGrp="1"/>
          </p:cNvSpPr>
          <p:nvPr>
            <p:ph type="title" hasCustomPrompt="1"/>
          </p:nvPr>
        </p:nvSpPr>
        <p:spPr/>
        <p:txBody>
          <a:bodyPr/>
          <a:lstStyle>
            <a:lvl1pPr>
              <a:defRPr/>
            </a:lvl1pPr>
          </a:lstStyle>
          <a:p>
            <a:r>
              <a:rPr lang="cs-CZ" noProof="0" dirty="0"/>
              <a:t>Nadpis (shrnutí stránky)</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with Header">
    <p:spTree>
      <p:nvGrpSpPr>
        <p:cNvPr id="1" name=""/>
        <p:cNvGrpSpPr/>
        <p:nvPr/>
      </p:nvGrpSpPr>
      <p:grpSpPr>
        <a:xfrm>
          <a:off x="0" y="0"/>
          <a:ext cx="0" cy="0"/>
          <a:chOff x="0" y="0"/>
          <a:chExt cx="0" cy="0"/>
        </a:xfrm>
      </p:grpSpPr>
      <p:sp>
        <p:nvSpPr>
          <p:cNvPr id="11" name="Zástupný symbol pro obrázek 10"/>
          <p:cNvSpPr>
            <a:spLocks noGrp="1"/>
          </p:cNvSpPr>
          <p:nvPr>
            <p:ph type="pic" sz="quarter" idx="13" hasCustomPrompt="1"/>
          </p:nvPr>
        </p:nvSpPr>
        <p:spPr>
          <a:xfrm>
            <a:off x="1" y="0"/>
            <a:ext cx="10691813" cy="6964537"/>
          </a:xfrm>
        </p:spPr>
        <p:txBody>
          <a:bodyPr/>
          <a:lstStyle>
            <a:lvl1pPr algn="l">
              <a:buFontTx/>
              <a:buNone/>
              <a:defRPr>
                <a:latin typeface="SKODA Next" panose="020B0504020603020204" pitchFamily="34" charset="0"/>
              </a:defRPr>
            </a:lvl1pPr>
          </a:lstStyle>
          <a:p>
            <a:r>
              <a:rPr lang="cs-CZ" noProof="0" dirty="0"/>
              <a:t>Obrázek</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Tree>
    <p:extLst>
      <p:ext uri="{BB962C8B-B14F-4D97-AF65-F5344CB8AC3E}">
        <p14:creationId xmlns:p14="http://schemas.microsoft.com/office/powerpoint/2010/main" val="9269268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igh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20" name="Skupina 19"/>
          <p:cNvGrpSpPr/>
          <p:nvPr userDrawn="1"/>
        </p:nvGrpSpPr>
        <p:grpSpPr>
          <a:xfrm>
            <a:off x="-1" y="-1905"/>
            <a:ext cx="10691994" cy="5870435"/>
            <a:chOff x="-1" y="-1905"/>
            <a:chExt cx="10691994" cy="5870435"/>
          </a:xfrm>
        </p:grpSpPr>
        <p:sp>
          <p:nvSpPr>
            <p:cNvPr id="28" name="Volný tvar 27"/>
            <p:cNvSpPr/>
            <p:nvPr userDrawn="1"/>
          </p:nvSpPr>
          <p:spPr>
            <a:xfrm>
              <a:off x="8671948" y="0"/>
              <a:ext cx="2019872" cy="3165168"/>
            </a:xfrm>
            <a:custGeom>
              <a:avLst/>
              <a:gdLst>
                <a:gd name="connsiteX0" fmla="*/ 1600200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5886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7782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9678 w 1609678"/>
                <a:gd name="connsiteY0" fmla="*/ 0 h 2472267"/>
                <a:gd name="connsiteX1" fmla="*/ 711200 w 1609678"/>
                <a:gd name="connsiteY1" fmla="*/ 0 h 2472267"/>
                <a:gd name="connsiteX2" fmla="*/ 0 w 1609678"/>
                <a:gd name="connsiteY2" fmla="*/ 1549400 h 2472267"/>
                <a:gd name="connsiteX3" fmla="*/ 465666 w 1609678"/>
                <a:gd name="connsiteY3" fmla="*/ 2472267 h 2472267"/>
                <a:gd name="connsiteX4" fmla="*/ 1608666 w 1609678"/>
                <a:gd name="connsiteY4" fmla="*/ 2472267 h 2472267"/>
                <a:gd name="connsiteX0" fmla="*/ 1609678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4 w 1611574"/>
                <a:gd name="connsiteY0" fmla="*/ 0 h 2472267"/>
                <a:gd name="connsiteX1" fmla="*/ 711200 w 1611574"/>
                <a:gd name="connsiteY1" fmla="*/ 0 h 2472267"/>
                <a:gd name="connsiteX2" fmla="*/ 0 w 1611574"/>
                <a:gd name="connsiteY2" fmla="*/ 1549400 h 2472267"/>
                <a:gd name="connsiteX3" fmla="*/ 465666 w 1611574"/>
                <a:gd name="connsiteY3" fmla="*/ 2472267 h 2472267"/>
                <a:gd name="connsiteX4" fmla="*/ 1610561 w 1611574"/>
                <a:gd name="connsiteY4" fmla="*/ 2472267 h 2472267"/>
                <a:gd name="connsiteX0" fmla="*/ 1609679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5 w 1611575"/>
                <a:gd name="connsiteY0" fmla="*/ 0 h 2472267"/>
                <a:gd name="connsiteX1" fmla="*/ 711200 w 1611575"/>
                <a:gd name="connsiteY1" fmla="*/ 0 h 2472267"/>
                <a:gd name="connsiteX2" fmla="*/ 0 w 1611575"/>
                <a:gd name="connsiteY2" fmla="*/ 1549400 h 2472267"/>
                <a:gd name="connsiteX3" fmla="*/ 465666 w 1611575"/>
                <a:gd name="connsiteY3" fmla="*/ 2472267 h 2472267"/>
                <a:gd name="connsiteX4" fmla="*/ 1610561 w 1611575"/>
                <a:gd name="connsiteY4" fmla="*/ 2472267 h 2472267"/>
                <a:gd name="connsiteX0" fmla="*/ 1609680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3995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9681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7 w 1611577"/>
                <a:gd name="connsiteY0" fmla="*/ 0 h 2472267"/>
                <a:gd name="connsiteX1" fmla="*/ 711200 w 1611577"/>
                <a:gd name="connsiteY1" fmla="*/ 0 h 2472267"/>
                <a:gd name="connsiteX2" fmla="*/ 0 w 1611577"/>
                <a:gd name="connsiteY2" fmla="*/ 1549400 h 2472267"/>
                <a:gd name="connsiteX3" fmla="*/ 465666 w 1611577"/>
                <a:gd name="connsiteY3" fmla="*/ 2472267 h 2472267"/>
                <a:gd name="connsiteX4" fmla="*/ 1610561 w 1611577"/>
                <a:gd name="connsiteY4" fmla="*/ 2472267 h 2472267"/>
                <a:gd name="connsiteX0" fmla="*/ 1609682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7787 w 1608666"/>
                <a:gd name="connsiteY0" fmla="*/ 0 h 2472267"/>
                <a:gd name="connsiteX1" fmla="*/ 709305 w 1608666"/>
                <a:gd name="connsiteY1" fmla="*/ 0 h 2472267"/>
                <a:gd name="connsiteX2" fmla="*/ 0 w 1608666"/>
                <a:gd name="connsiteY2" fmla="*/ 1549400 h 2472267"/>
                <a:gd name="connsiteX3" fmla="*/ 463771 w 1608666"/>
                <a:gd name="connsiteY3" fmla="*/ 2472267 h 2472267"/>
                <a:gd name="connsiteX4" fmla="*/ 1608666 w 1608666"/>
                <a:gd name="connsiteY4" fmla="*/ 2472267 h 2472267"/>
                <a:gd name="connsiteX0" fmla="*/ 1603996 w 1604875"/>
                <a:gd name="connsiteY0" fmla="*/ 0 h 2472267"/>
                <a:gd name="connsiteX1" fmla="*/ 705514 w 1604875"/>
                <a:gd name="connsiteY1" fmla="*/ 0 h 2472267"/>
                <a:gd name="connsiteX2" fmla="*/ 0 w 1604875"/>
                <a:gd name="connsiteY2" fmla="*/ 1549400 h 2472267"/>
                <a:gd name="connsiteX3" fmla="*/ 459980 w 1604875"/>
                <a:gd name="connsiteY3" fmla="*/ 2472267 h 2472267"/>
                <a:gd name="connsiteX4" fmla="*/ 1604875 w 1604875"/>
                <a:gd name="connsiteY4" fmla="*/ 2472267 h 2472267"/>
                <a:gd name="connsiteX0" fmla="*/ 1603996 w 1604875"/>
                <a:gd name="connsiteY0" fmla="*/ 1905 h 2474172"/>
                <a:gd name="connsiteX1" fmla="*/ 457229 w 1604875"/>
                <a:gd name="connsiteY1" fmla="*/ 0 h 2474172"/>
                <a:gd name="connsiteX2" fmla="*/ 0 w 1604875"/>
                <a:gd name="connsiteY2" fmla="*/ 1551305 h 2474172"/>
                <a:gd name="connsiteX3" fmla="*/ 459980 w 1604875"/>
                <a:gd name="connsiteY3" fmla="*/ 2474172 h 2474172"/>
                <a:gd name="connsiteX4" fmla="*/ 1604875 w 1604875"/>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5576 w 2010471"/>
                <a:gd name="connsiteY3" fmla="*/ 2474172 h 2474172"/>
                <a:gd name="connsiteX4" fmla="*/ 2010471 w 2010471"/>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7472 w 2010471"/>
                <a:gd name="connsiteY3" fmla="*/ 2474172 h 2474172"/>
                <a:gd name="connsiteX4" fmla="*/ 2010471 w 2010471"/>
                <a:gd name="connsiteY4" fmla="*/ 2474172 h 2474172"/>
                <a:gd name="connsiteX0" fmla="*/ 2009592 w 2010471"/>
                <a:gd name="connsiteY0" fmla="*/ 1905 h 3163927"/>
                <a:gd name="connsiteX1" fmla="*/ 862825 w 2010471"/>
                <a:gd name="connsiteY1" fmla="*/ 0 h 3163927"/>
                <a:gd name="connsiteX2" fmla="*/ 0 w 2010471"/>
                <a:gd name="connsiteY2" fmla="*/ 1898088 h 3163927"/>
                <a:gd name="connsiteX3" fmla="*/ 867472 w 2010471"/>
                <a:gd name="connsiteY3" fmla="*/ 2474172 h 3163927"/>
                <a:gd name="connsiteX4" fmla="*/ 2010471 w 2010471"/>
                <a:gd name="connsiteY4" fmla="*/ 3163927 h 3163927"/>
                <a:gd name="connsiteX0" fmla="*/ 2009592 w 2010471"/>
                <a:gd name="connsiteY0" fmla="*/ 1905 h 3163927"/>
                <a:gd name="connsiteX1" fmla="*/ 862825 w 2010471"/>
                <a:gd name="connsiteY1" fmla="*/ 0 h 3163927"/>
                <a:gd name="connsiteX2" fmla="*/ 0 w 2010471"/>
                <a:gd name="connsiteY2" fmla="*/ 1898088 h 3163927"/>
                <a:gd name="connsiteX3" fmla="*/ 640035 w 2010471"/>
                <a:gd name="connsiteY3" fmla="*/ 3163927 h 3163927"/>
                <a:gd name="connsiteX4" fmla="*/ 2010471 w 2010471"/>
                <a:gd name="connsiteY4" fmla="*/ 3163927 h 3163927"/>
                <a:gd name="connsiteX0" fmla="*/ 2009592 w 2010471"/>
                <a:gd name="connsiteY0" fmla="*/ 1905 h 3167738"/>
                <a:gd name="connsiteX1" fmla="*/ 862825 w 2010471"/>
                <a:gd name="connsiteY1" fmla="*/ 0 h 3167738"/>
                <a:gd name="connsiteX2" fmla="*/ 0 w 2010471"/>
                <a:gd name="connsiteY2" fmla="*/ 1898088 h 3167738"/>
                <a:gd name="connsiteX3" fmla="*/ 640035 w 2010471"/>
                <a:gd name="connsiteY3" fmla="*/ 3163927 h 3167738"/>
                <a:gd name="connsiteX4" fmla="*/ 2010471 w 2010471"/>
                <a:gd name="connsiteY4" fmla="*/ 3167738 h 3167738"/>
                <a:gd name="connsiteX0" fmla="*/ 2009592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3383 w 2013383"/>
                <a:gd name="connsiteY0" fmla="*/ 1905 h 3167738"/>
                <a:gd name="connsiteX1" fmla="*/ 862825 w 2013383"/>
                <a:gd name="connsiteY1" fmla="*/ 0 h 3167738"/>
                <a:gd name="connsiteX2" fmla="*/ 0 w 2013383"/>
                <a:gd name="connsiteY2" fmla="*/ 1898088 h 3167738"/>
                <a:gd name="connsiteX3" fmla="*/ 641930 w 2013383"/>
                <a:gd name="connsiteY3" fmla="*/ 3167738 h 3167738"/>
                <a:gd name="connsiteX4" fmla="*/ 2010471 w 2013383"/>
                <a:gd name="connsiteY4" fmla="*/ 3167738 h 3167738"/>
                <a:gd name="connsiteX0" fmla="*/ 2011488 w 2011488"/>
                <a:gd name="connsiteY0" fmla="*/ 1905 h 3167738"/>
                <a:gd name="connsiteX1" fmla="*/ 862825 w 2011488"/>
                <a:gd name="connsiteY1" fmla="*/ 0 h 3167738"/>
                <a:gd name="connsiteX2" fmla="*/ 0 w 2011488"/>
                <a:gd name="connsiteY2" fmla="*/ 1898088 h 3167738"/>
                <a:gd name="connsiteX3" fmla="*/ 641930 w 2011488"/>
                <a:gd name="connsiteY3" fmla="*/ 3167738 h 3167738"/>
                <a:gd name="connsiteX4" fmla="*/ 2010471 w 2011488"/>
                <a:gd name="connsiteY4" fmla="*/ 3167738 h 3167738"/>
                <a:gd name="connsiteX0" fmla="*/ 2009593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1489 w 2011489"/>
                <a:gd name="connsiteY0" fmla="*/ 1905 h 3167738"/>
                <a:gd name="connsiteX1" fmla="*/ 862825 w 2011489"/>
                <a:gd name="connsiteY1" fmla="*/ 0 h 3167738"/>
                <a:gd name="connsiteX2" fmla="*/ 0 w 2011489"/>
                <a:gd name="connsiteY2" fmla="*/ 1898088 h 3167738"/>
                <a:gd name="connsiteX3" fmla="*/ 641930 w 2011489"/>
                <a:gd name="connsiteY3" fmla="*/ 3167738 h 3167738"/>
                <a:gd name="connsiteX4" fmla="*/ 2010471 w 2011489"/>
                <a:gd name="connsiteY4" fmla="*/ 3167738 h 3167738"/>
                <a:gd name="connsiteX0" fmla="*/ 2009594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09594 w 2009594"/>
                <a:gd name="connsiteY0" fmla="*/ 1905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9643"/>
                <a:gd name="connsiteX1" fmla="*/ 862825 w 2009594"/>
                <a:gd name="connsiteY1" fmla="*/ 1905 h 3169643"/>
                <a:gd name="connsiteX2" fmla="*/ 0 w 2009594"/>
                <a:gd name="connsiteY2" fmla="*/ 1899993 h 3169643"/>
                <a:gd name="connsiteX3" fmla="*/ 641930 w 2009594"/>
                <a:gd name="connsiteY3" fmla="*/ 3169643 h 3169643"/>
                <a:gd name="connsiteX4" fmla="*/ 2008576 w 2009594"/>
                <a:gd name="connsiteY4" fmla="*/ 3169643 h 3169643"/>
                <a:gd name="connsiteX0" fmla="*/ 2009594 w 2009594"/>
                <a:gd name="connsiteY0" fmla="*/ 0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1905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5833"/>
                <a:gd name="connsiteX1" fmla="*/ 860930 w 2009594"/>
                <a:gd name="connsiteY1" fmla="*/ 0 h 3165833"/>
                <a:gd name="connsiteX2" fmla="*/ 0 w 2009594"/>
                <a:gd name="connsiteY2" fmla="*/ 1896183 h 3165833"/>
                <a:gd name="connsiteX3" fmla="*/ 641930 w 2009594"/>
                <a:gd name="connsiteY3" fmla="*/ 3165833 h 3165833"/>
                <a:gd name="connsiteX4" fmla="*/ 2008576 w 2009594"/>
                <a:gd name="connsiteY4" fmla="*/ 3165833 h 316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594" h="3165833">
                  <a:moveTo>
                    <a:pt x="2009594" y="0"/>
                  </a:moveTo>
                  <a:lnTo>
                    <a:pt x="860930" y="0"/>
                  </a:lnTo>
                  <a:lnTo>
                    <a:pt x="0" y="1896183"/>
                  </a:lnTo>
                  <a:lnTo>
                    <a:pt x="641930" y="3165833"/>
                  </a:lnTo>
                  <a:lnTo>
                    <a:pt x="2008576" y="3165833"/>
                  </a:lnTo>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29" name="Volný tvar 28"/>
            <p:cNvSpPr/>
            <p:nvPr userDrawn="1"/>
          </p:nvSpPr>
          <p:spPr>
            <a:xfrm>
              <a:off x="9316886" y="3164324"/>
              <a:ext cx="1375107" cy="2704206"/>
            </a:xfrm>
            <a:custGeom>
              <a:avLst/>
              <a:gdLst>
                <a:gd name="connsiteX0" fmla="*/ 1134533 w 1134533"/>
                <a:gd name="connsiteY0" fmla="*/ 0 h 2243667"/>
                <a:gd name="connsiteX1" fmla="*/ 1134533 w 1134533"/>
                <a:gd name="connsiteY1" fmla="*/ 2243667 h 2243667"/>
                <a:gd name="connsiteX2" fmla="*/ 0 w 1134533"/>
                <a:gd name="connsiteY2" fmla="*/ 0 h 2243667"/>
                <a:gd name="connsiteX0" fmla="*/ 1134533 w 1138298"/>
                <a:gd name="connsiteY0" fmla="*/ 0 h 3398339"/>
                <a:gd name="connsiteX1" fmla="*/ 1138298 w 1138298"/>
                <a:gd name="connsiteY1" fmla="*/ 3398339 h 3398339"/>
                <a:gd name="connsiteX2" fmla="*/ 0 w 1138298"/>
                <a:gd name="connsiteY2" fmla="*/ 0 h 3398339"/>
                <a:gd name="connsiteX0" fmla="*/ 1134533 w 1138298"/>
                <a:gd name="connsiteY0" fmla="*/ 693566 h 3398339"/>
                <a:gd name="connsiteX1" fmla="*/ 1138298 w 1138298"/>
                <a:gd name="connsiteY1" fmla="*/ 3398339 h 3398339"/>
                <a:gd name="connsiteX2" fmla="*/ 0 w 1138298"/>
                <a:gd name="connsiteY2" fmla="*/ 0 h 3398339"/>
                <a:gd name="connsiteX0" fmla="*/ 1356642 w 1360407"/>
                <a:gd name="connsiteY0" fmla="*/ 0 h 2704773"/>
                <a:gd name="connsiteX1" fmla="*/ 1360407 w 1360407"/>
                <a:gd name="connsiteY1" fmla="*/ 2704773 h 2704773"/>
                <a:gd name="connsiteX2" fmla="*/ 0 w 1360407"/>
                <a:gd name="connsiteY2" fmla="*/ 0 h 2704773"/>
                <a:gd name="connsiteX0" fmla="*/ 1356642 w 1358525"/>
                <a:gd name="connsiteY0" fmla="*/ 0 h 2704773"/>
                <a:gd name="connsiteX1" fmla="*/ 1358525 w 1358525"/>
                <a:gd name="connsiteY1" fmla="*/ 2704773 h 2704773"/>
                <a:gd name="connsiteX2" fmla="*/ 0 w 1358525"/>
                <a:gd name="connsiteY2" fmla="*/ 0 h 2704773"/>
                <a:gd name="connsiteX0" fmla="*/ 1358524 w 1358705"/>
                <a:gd name="connsiteY0" fmla="*/ 0 h 2704773"/>
                <a:gd name="connsiteX1" fmla="*/ 1358525 w 1358705"/>
                <a:gd name="connsiteY1" fmla="*/ 2704773 h 2704773"/>
                <a:gd name="connsiteX2" fmla="*/ 0 w 1358705"/>
                <a:gd name="connsiteY2" fmla="*/ 0 h 2704773"/>
                <a:gd name="connsiteX0" fmla="*/ 1360406 w 1360587"/>
                <a:gd name="connsiteY0" fmla="*/ 0 h 2704773"/>
                <a:gd name="connsiteX1" fmla="*/ 1360407 w 1360587"/>
                <a:gd name="connsiteY1" fmla="*/ 2704773 h 2704773"/>
                <a:gd name="connsiteX2" fmla="*/ 0 w 1360587"/>
                <a:gd name="connsiteY2" fmla="*/ 0 h 2704773"/>
                <a:gd name="connsiteX0" fmla="*/ 1358524 w 1360407"/>
                <a:gd name="connsiteY0" fmla="*/ 0 h 2704773"/>
                <a:gd name="connsiteX1" fmla="*/ 1360407 w 1360407"/>
                <a:gd name="connsiteY1" fmla="*/ 2704773 h 2704773"/>
                <a:gd name="connsiteX2" fmla="*/ 0 w 1360407"/>
                <a:gd name="connsiteY2" fmla="*/ 0 h 2704773"/>
                <a:gd name="connsiteX0" fmla="*/ 1358524 w 1358705"/>
                <a:gd name="connsiteY0" fmla="*/ 0 h 2704773"/>
                <a:gd name="connsiteX1" fmla="*/ 1358525 w 1358705"/>
                <a:gd name="connsiteY1" fmla="*/ 2704773 h 2704773"/>
                <a:gd name="connsiteX2" fmla="*/ 0 w 1358705"/>
                <a:gd name="connsiteY2" fmla="*/ 0 h 2704773"/>
              </a:gdLst>
              <a:ahLst/>
              <a:cxnLst>
                <a:cxn ang="0">
                  <a:pos x="connsiteX0" y="connsiteY0"/>
                </a:cxn>
                <a:cxn ang="0">
                  <a:pos x="connsiteX1" y="connsiteY1"/>
                </a:cxn>
                <a:cxn ang="0">
                  <a:pos x="connsiteX2" y="connsiteY2"/>
                </a:cxn>
              </a:cxnLst>
              <a:rect l="l" t="t" r="r" b="b"/>
              <a:pathLst>
                <a:path w="1358705" h="2704773">
                  <a:moveTo>
                    <a:pt x="1358524" y="0"/>
                  </a:moveTo>
                  <a:cubicBezTo>
                    <a:pt x="1359152" y="901591"/>
                    <a:pt x="1357897" y="1803182"/>
                    <a:pt x="1358525" y="2704773"/>
                  </a:cubicBezTo>
                  <a:cubicBezTo>
                    <a:pt x="980347" y="1956884"/>
                    <a:pt x="378178" y="747889"/>
                    <a:pt x="0" y="0"/>
                  </a:cubicBezTo>
                </a:path>
              </a:pathLst>
            </a:custGeom>
            <a:gradFill>
              <a:gsLst>
                <a:gs pos="0">
                  <a:schemeClr val="bg1"/>
                </a:gs>
                <a:gs pos="100000">
                  <a:schemeClr val="bg1">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0" name="Volný tvar 29"/>
            <p:cNvSpPr/>
            <p:nvPr userDrawn="1"/>
          </p:nvSpPr>
          <p:spPr>
            <a:xfrm>
              <a:off x="2381428" y="0"/>
              <a:ext cx="7155030" cy="1892480"/>
            </a:xfrm>
            <a:custGeom>
              <a:avLst/>
              <a:gdLst>
                <a:gd name="connsiteX0" fmla="*/ 7442200 w 8144934"/>
                <a:gd name="connsiteY0" fmla="*/ 1540934 h 1540934"/>
                <a:gd name="connsiteX1" fmla="*/ 8144934 w 8144934"/>
                <a:gd name="connsiteY1" fmla="*/ 0 h 1540934"/>
                <a:gd name="connsiteX2" fmla="*/ 0 w 8144934"/>
                <a:gd name="connsiteY2" fmla="*/ 0 h 1540934"/>
                <a:gd name="connsiteX0" fmla="*/ 7438390 w 8144934"/>
                <a:gd name="connsiteY0" fmla="*/ 1540934 h 1540934"/>
                <a:gd name="connsiteX1" fmla="*/ 8144934 w 8144934"/>
                <a:gd name="connsiteY1" fmla="*/ 0 h 1540934"/>
                <a:gd name="connsiteX2" fmla="*/ 0 w 8144934"/>
                <a:gd name="connsiteY2" fmla="*/ 0 h 1540934"/>
                <a:gd name="connsiteX0" fmla="*/ 7032565 w 8144934"/>
                <a:gd name="connsiteY0" fmla="*/ 1882340 h 1882340"/>
                <a:gd name="connsiteX1" fmla="*/ 8144934 w 8144934"/>
                <a:gd name="connsiteY1" fmla="*/ 0 h 1882340"/>
                <a:gd name="connsiteX2" fmla="*/ 0 w 8144934"/>
                <a:gd name="connsiteY2" fmla="*/ 0 h 1882340"/>
                <a:gd name="connsiteX0" fmla="*/ 7030660 w 8144934"/>
                <a:gd name="connsiteY0" fmla="*/ 1882340 h 1882340"/>
                <a:gd name="connsiteX1" fmla="*/ 8144934 w 8144934"/>
                <a:gd name="connsiteY1" fmla="*/ 0 h 1882340"/>
                <a:gd name="connsiteX2" fmla="*/ 0 w 8144934"/>
                <a:gd name="connsiteY2" fmla="*/ 0 h 1882340"/>
                <a:gd name="connsiteX0" fmla="*/ 7030660 w 7895342"/>
                <a:gd name="connsiteY0" fmla="*/ 1882340 h 1882340"/>
                <a:gd name="connsiteX1" fmla="*/ 7895342 w 7895342"/>
                <a:gd name="connsiteY1" fmla="*/ 0 h 1882340"/>
                <a:gd name="connsiteX2" fmla="*/ 0 w 7895342"/>
                <a:gd name="connsiteY2" fmla="*/ 0 h 1882340"/>
                <a:gd name="connsiteX0" fmla="*/ 6272357 w 7137039"/>
                <a:gd name="connsiteY0" fmla="*/ 1884237 h 1884237"/>
                <a:gd name="connsiteX1" fmla="*/ 7137039 w 7137039"/>
                <a:gd name="connsiteY1" fmla="*/ 1897 h 1884237"/>
                <a:gd name="connsiteX2" fmla="*/ 0 w 7137039"/>
                <a:gd name="connsiteY2" fmla="*/ 0 h 1884237"/>
                <a:gd name="connsiteX0" fmla="*/ 6276168 w 7137039"/>
                <a:gd name="connsiteY0" fmla="*/ 1882340 h 1882340"/>
                <a:gd name="connsiteX1" fmla="*/ 7137039 w 7137039"/>
                <a:gd name="connsiteY1" fmla="*/ 1897 h 1882340"/>
                <a:gd name="connsiteX2" fmla="*/ 0 w 7137039"/>
                <a:gd name="connsiteY2" fmla="*/ 0 h 1882340"/>
                <a:gd name="connsiteX0" fmla="*/ 6276168 w 7137039"/>
                <a:gd name="connsiteY0" fmla="*/ 1886133 h 1886133"/>
                <a:gd name="connsiteX1" fmla="*/ 7137039 w 7137039"/>
                <a:gd name="connsiteY1" fmla="*/ 1897 h 1886133"/>
                <a:gd name="connsiteX2" fmla="*/ 0 w 7137039"/>
                <a:gd name="connsiteY2" fmla="*/ 0 h 1886133"/>
                <a:gd name="connsiteX0" fmla="*/ 6291410 w 7152281"/>
                <a:gd name="connsiteY0" fmla="*/ 1884236 h 1884236"/>
                <a:gd name="connsiteX1" fmla="*/ 7152281 w 7152281"/>
                <a:gd name="connsiteY1" fmla="*/ 0 h 1884236"/>
                <a:gd name="connsiteX2" fmla="*/ 0 w 7152281"/>
                <a:gd name="connsiteY2" fmla="*/ 0 h 1884236"/>
                <a:gd name="connsiteX0" fmla="*/ 6293315 w 7154186"/>
                <a:gd name="connsiteY0" fmla="*/ 1884236 h 1884236"/>
                <a:gd name="connsiteX1" fmla="*/ 7154186 w 7154186"/>
                <a:gd name="connsiteY1" fmla="*/ 0 h 1884236"/>
                <a:gd name="connsiteX2" fmla="*/ 0 w 7154186"/>
                <a:gd name="connsiteY2" fmla="*/ 0 h 1884236"/>
                <a:gd name="connsiteX0" fmla="*/ 6295220 w 7156091"/>
                <a:gd name="connsiteY0" fmla="*/ 1884236 h 1884236"/>
                <a:gd name="connsiteX1" fmla="*/ 7156091 w 7156091"/>
                <a:gd name="connsiteY1" fmla="*/ 0 h 1884236"/>
                <a:gd name="connsiteX2" fmla="*/ 0 w 7156091"/>
                <a:gd name="connsiteY2" fmla="*/ 0 h 1884236"/>
              </a:gdLst>
              <a:ahLst/>
              <a:cxnLst>
                <a:cxn ang="0">
                  <a:pos x="connsiteX0" y="connsiteY0"/>
                </a:cxn>
                <a:cxn ang="0">
                  <a:pos x="connsiteX1" y="connsiteY1"/>
                </a:cxn>
                <a:cxn ang="0">
                  <a:pos x="connsiteX2" y="connsiteY2"/>
                </a:cxn>
              </a:cxnLst>
              <a:rect l="l" t="t" r="r" b="b"/>
              <a:pathLst>
                <a:path w="7156091" h="1884236">
                  <a:moveTo>
                    <a:pt x="6295220" y="1884236"/>
                  </a:moveTo>
                  <a:lnTo>
                    <a:pt x="7156091" y="0"/>
                  </a:lnTo>
                  <a:lnTo>
                    <a:pt x="0" y="0"/>
                  </a:lnTo>
                </a:path>
              </a:pathLst>
            </a:cu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1" name="Volný tvar 30"/>
            <p:cNvSpPr/>
            <p:nvPr userDrawn="1"/>
          </p:nvSpPr>
          <p:spPr>
            <a:xfrm>
              <a:off x="-1" y="-1905"/>
              <a:ext cx="8678465" cy="4438313"/>
            </a:xfrm>
            <a:custGeom>
              <a:avLst/>
              <a:gdLst>
                <a:gd name="connsiteX0" fmla="*/ 9084733 w 9084733"/>
                <a:gd name="connsiteY0" fmla="*/ 1549400 h 3623734"/>
                <a:gd name="connsiteX1" fmla="*/ 1659466 w 9084733"/>
                <a:gd name="connsiteY1" fmla="*/ 0 h 3623734"/>
                <a:gd name="connsiteX2" fmla="*/ 0 w 9084733"/>
                <a:gd name="connsiteY2" fmla="*/ 0 h 3623734"/>
                <a:gd name="connsiteX3" fmla="*/ 0 w 9084733"/>
                <a:gd name="connsiteY3" fmla="*/ 3623734 h 3623734"/>
                <a:gd name="connsiteX0" fmla="*/ 9071408 w 9071408"/>
                <a:gd name="connsiteY0" fmla="*/ 1547495 h 3623734"/>
                <a:gd name="connsiteX1" fmla="*/ 1659466 w 9071408"/>
                <a:gd name="connsiteY1" fmla="*/ 0 h 3623734"/>
                <a:gd name="connsiteX2" fmla="*/ 0 w 9071408"/>
                <a:gd name="connsiteY2" fmla="*/ 0 h 3623734"/>
                <a:gd name="connsiteX3" fmla="*/ 0 w 9071408"/>
                <a:gd name="connsiteY3" fmla="*/ 3623734 h 3623734"/>
                <a:gd name="connsiteX0" fmla="*/ 9073312 w 9073312"/>
                <a:gd name="connsiteY0" fmla="*/ 1547495 h 4437340"/>
                <a:gd name="connsiteX1" fmla="*/ 1661370 w 9073312"/>
                <a:gd name="connsiteY1" fmla="*/ 0 h 4437340"/>
                <a:gd name="connsiteX2" fmla="*/ 1904 w 9073312"/>
                <a:gd name="connsiteY2" fmla="*/ 0 h 4437340"/>
                <a:gd name="connsiteX3" fmla="*/ 0 w 9073312"/>
                <a:gd name="connsiteY3" fmla="*/ 4437340 h 4437340"/>
                <a:gd name="connsiteX0" fmla="*/ 9071408 w 9071408"/>
                <a:gd name="connsiteY0" fmla="*/ 1547495 h 4437340"/>
                <a:gd name="connsiteX1" fmla="*/ 1659466 w 9071408"/>
                <a:gd name="connsiteY1" fmla="*/ 0 h 4437340"/>
                <a:gd name="connsiteX2" fmla="*/ 0 w 9071408"/>
                <a:gd name="connsiteY2" fmla="*/ 0 h 4437340"/>
                <a:gd name="connsiteX3" fmla="*/ 0 w 9071408"/>
                <a:gd name="connsiteY3" fmla="*/ 4437340 h 4437340"/>
                <a:gd name="connsiteX0" fmla="*/ 8667864 w 8667864"/>
                <a:gd name="connsiteY0" fmla="*/ 1894278 h 4437340"/>
                <a:gd name="connsiteX1" fmla="*/ 1659466 w 8667864"/>
                <a:gd name="connsiteY1" fmla="*/ 0 h 4437340"/>
                <a:gd name="connsiteX2" fmla="*/ 0 w 8667864"/>
                <a:gd name="connsiteY2" fmla="*/ 0 h 4437340"/>
                <a:gd name="connsiteX3" fmla="*/ 0 w 8667864"/>
                <a:gd name="connsiteY3" fmla="*/ 4437340 h 4437340"/>
                <a:gd name="connsiteX0" fmla="*/ 8667864 w 8667864"/>
                <a:gd name="connsiteY0" fmla="*/ 1896183 h 4439245"/>
                <a:gd name="connsiteX1" fmla="*/ 2373282 w 8667864"/>
                <a:gd name="connsiteY1" fmla="*/ 0 h 4439245"/>
                <a:gd name="connsiteX2" fmla="*/ 0 w 8667864"/>
                <a:gd name="connsiteY2" fmla="*/ 1905 h 4439245"/>
                <a:gd name="connsiteX3" fmla="*/ 0 w 8667864"/>
                <a:gd name="connsiteY3" fmla="*/ 4439245 h 4439245"/>
                <a:gd name="connsiteX0" fmla="*/ 8671671 w 8671671"/>
                <a:gd name="connsiteY0" fmla="*/ 1894278 h 4439245"/>
                <a:gd name="connsiteX1" fmla="*/ 2373282 w 8671671"/>
                <a:gd name="connsiteY1" fmla="*/ 0 h 4439245"/>
                <a:gd name="connsiteX2" fmla="*/ 0 w 8671671"/>
                <a:gd name="connsiteY2" fmla="*/ 1905 h 4439245"/>
                <a:gd name="connsiteX3" fmla="*/ 0 w 8671671"/>
                <a:gd name="connsiteY3" fmla="*/ 4439245 h 4439245"/>
              </a:gdLst>
              <a:ahLst/>
              <a:cxnLst>
                <a:cxn ang="0">
                  <a:pos x="connsiteX0" y="connsiteY0"/>
                </a:cxn>
                <a:cxn ang="0">
                  <a:pos x="connsiteX1" y="connsiteY1"/>
                </a:cxn>
                <a:cxn ang="0">
                  <a:pos x="connsiteX2" y="connsiteY2"/>
                </a:cxn>
                <a:cxn ang="0">
                  <a:pos x="connsiteX3" y="connsiteY3"/>
                </a:cxn>
              </a:cxnLst>
              <a:rect l="l" t="t" r="r" b="b"/>
              <a:pathLst>
                <a:path w="8671671" h="4439245">
                  <a:moveTo>
                    <a:pt x="8671671" y="1894278"/>
                  </a:moveTo>
                  <a:lnTo>
                    <a:pt x="2373282" y="0"/>
                  </a:lnTo>
                  <a:lnTo>
                    <a:pt x="0" y="1905"/>
                  </a:lnTo>
                  <a:lnTo>
                    <a:pt x="0" y="4439245"/>
                  </a:lnTo>
                </a:path>
              </a:pathLst>
            </a:cu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pic>
          <p:nvPicPr>
            <p:cNvPr id="32" name="Obrázek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19849" y="1054894"/>
              <a:ext cx="1224000" cy="1622866"/>
            </a:xfrm>
            <a:prstGeom prst="rect">
              <a:avLst/>
            </a:prstGeom>
          </p:spPr>
        </p:pic>
      </p:grpSp>
      <p:graphicFrame>
        <p:nvGraphicFramePr>
          <p:cNvPr id="3" name="Objek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99" imgH="398" progId="TCLayout.ActiveDocument.1">
                  <p:embed/>
                </p:oleObj>
              </mc:Choice>
              <mc:Fallback>
                <p:oleObj name="think-cell Slide" r:id="rId5" imgW="399" imgH="398" progId="TCLayout.ActiveDocument.1">
                  <p:embed/>
                  <p:pic>
                    <p:nvPicPr>
                      <p:cNvPr id="3" name="Objekt 2"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Nadpis 6"/>
          <p:cNvSpPr>
            <a:spLocks noGrp="1"/>
          </p:cNvSpPr>
          <p:nvPr>
            <p:ph type="title" hasCustomPrompt="1"/>
          </p:nvPr>
        </p:nvSpPr>
        <p:spPr>
          <a:xfrm>
            <a:off x="342848" y="1638000"/>
            <a:ext cx="8278865" cy="540000"/>
          </a:xfrm>
        </p:spPr>
        <p:txBody>
          <a:bodyPr anchor="t" anchorCtr="0">
            <a:noAutofit/>
          </a:bodyPr>
          <a:lstStyle>
            <a:lvl1pPr>
              <a:lnSpc>
                <a:spcPts val="4400"/>
              </a:lnSpc>
              <a:defRPr sz="3600" cap="all" baseline="0">
                <a:solidFill>
                  <a:schemeClr val="bg1"/>
                </a:solidFill>
                <a:latin typeface="SKODA Next" panose="020B0504020603020204" pitchFamily="34" charset="0"/>
              </a:defRPr>
            </a:lvl1pPr>
          </a:lstStyle>
          <a:p>
            <a:r>
              <a:rPr lang="cs-CZ" noProof="0" dirty="0"/>
              <a:t>Název prezentace</a:t>
            </a:r>
          </a:p>
        </p:txBody>
      </p:sp>
      <p:sp>
        <p:nvSpPr>
          <p:cNvPr id="15" name="Zástupný symbol pro text 14"/>
          <p:cNvSpPr>
            <a:spLocks noGrp="1"/>
          </p:cNvSpPr>
          <p:nvPr>
            <p:ph type="body" sz="quarter" idx="13" hasCustomPrompt="1"/>
          </p:nvPr>
        </p:nvSpPr>
        <p:spPr>
          <a:xfrm>
            <a:off x="341948" y="5506843"/>
            <a:ext cx="5183231" cy="323932"/>
          </a:xfrm>
        </p:spPr>
        <p:txBody>
          <a:bodyPr vert="horz" lIns="0" tIns="0" rIns="0" bIns="0" rtlCol="0" anchor="b" anchorCtr="0">
            <a:noAutofit/>
          </a:bodyPr>
          <a:lstStyle>
            <a:lvl1pPr marL="180000" indent="-180000">
              <a:buNone/>
              <a:defRPr lang="cs-CZ" sz="2000" noProof="0" dirty="0">
                <a:solidFill>
                  <a:schemeClr val="bg1"/>
                </a:solidFill>
                <a:effectLst>
                  <a:glow rad="254000">
                    <a:schemeClr val="tx1">
                      <a:alpha val="34000"/>
                    </a:schemeClr>
                  </a:glow>
                </a:effectLst>
              </a:defRPr>
            </a:lvl1pPr>
          </a:lstStyle>
          <a:p>
            <a:pPr marL="0" lvl="0" indent="0">
              <a:lnSpc>
                <a:spcPts val="2400"/>
              </a:lnSpc>
            </a:pPr>
            <a:r>
              <a:rPr lang="cs-CZ" noProof="0" dirty="0"/>
              <a:t>Jméno</a:t>
            </a:r>
          </a:p>
        </p:txBody>
      </p:sp>
      <p:sp>
        <p:nvSpPr>
          <p:cNvPr id="17" name="Zástupný symbol pro text 16"/>
          <p:cNvSpPr>
            <a:spLocks noGrp="1"/>
          </p:cNvSpPr>
          <p:nvPr>
            <p:ph type="body" sz="quarter" idx="14" hasCustomPrompt="1"/>
          </p:nvPr>
        </p:nvSpPr>
        <p:spPr>
          <a:xfrm>
            <a:off x="341948" y="6298677"/>
            <a:ext cx="5183231" cy="323932"/>
          </a:xfrm>
        </p:spPr>
        <p:txBody>
          <a:bodyPr vert="horz" lIns="0" tIns="0" rIns="0" bIns="0" rtlCol="0" anchor="b" anchorCtr="0">
            <a:noAutofit/>
          </a:bodyPr>
          <a:lstStyle>
            <a:lvl1pPr marL="180000" indent="-180000">
              <a:buNone/>
              <a:defRPr lang="cs-CZ" sz="2000" noProof="0" dirty="0">
                <a:solidFill>
                  <a:schemeClr val="bg1"/>
                </a:solidFill>
                <a:effectLst>
                  <a:glow rad="254000">
                    <a:schemeClr val="tx1">
                      <a:alpha val="34000"/>
                    </a:schemeClr>
                  </a:glow>
                </a:effectLst>
              </a:defRPr>
            </a:lvl1pPr>
          </a:lstStyle>
          <a:p>
            <a:pPr marL="0" lvl="0" indent="0">
              <a:lnSpc>
                <a:spcPts val="2400"/>
              </a:lnSpc>
            </a:pPr>
            <a:r>
              <a:rPr lang="cs-CZ" sz="2000" noProof="0" dirty="0"/>
              <a:t>XX.XX.2017</a:t>
            </a:r>
            <a:endParaRPr lang="cs-CZ" noProof="0" dirty="0"/>
          </a:p>
        </p:txBody>
      </p:sp>
      <p:sp>
        <p:nvSpPr>
          <p:cNvPr id="19" name="Zástupný symbol pro text 18"/>
          <p:cNvSpPr>
            <a:spLocks noGrp="1"/>
          </p:cNvSpPr>
          <p:nvPr>
            <p:ph type="body" sz="quarter" idx="15" hasCustomPrompt="1"/>
          </p:nvPr>
        </p:nvSpPr>
        <p:spPr>
          <a:xfrm>
            <a:off x="342849" y="2358000"/>
            <a:ext cx="6550641" cy="719849"/>
          </a:xfrm>
        </p:spPr>
        <p:txBody>
          <a:bodyPr>
            <a:noAutofit/>
          </a:bodyPr>
          <a:lstStyle>
            <a:lvl1pPr marL="0" indent="0">
              <a:lnSpc>
                <a:spcPts val="2400"/>
              </a:lnSpc>
              <a:buFont typeface="Arial" panose="020B0604020202020204" pitchFamily="34" charset="0"/>
              <a:buNone/>
              <a:defRPr sz="2000">
                <a:solidFill>
                  <a:schemeClr val="bg1"/>
                </a:solidFill>
                <a:latin typeface="SKODA Next" panose="020B0504020603020204" pitchFamily="34" charset="0"/>
              </a:defRPr>
            </a:lvl1pPr>
          </a:lstStyle>
          <a:p>
            <a:pPr lvl="0"/>
            <a:r>
              <a:rPr lang="cs-CZ" noProof="0" dirty="0"/>
              <a:t>Dodatečné informace</a:t>
            </a:r>
          </a:p>
        </p:txBody>
      </p:sp>
      <p:sp>
        <p:nvSpPr>
          <p:cNvPr id="21" name="Zástupný symbol pro text 20"/>
          <p:cNvSpPr>
            <a:spLocks noGrp="1"/>
          </p:cNvSpPr>
          <p:nvPr>
            <p:ph type="body" sz="quarter" idx="16" hasCustomPrompt="1"/>
          </p:nvPr>
        </p:nvSpPr>
        <p:spPr>
          <a:xfrm>
            <a:off x="341949" y="5902760"/>
            <a:ext cx="5183231" cy="323932"/>
          </a:xfrm>
        </p:spPr>
        <p:txBody>
          <a:bodyPr vert="horz" lIns="0" tIns="0" rIns="0" bIns="0" rtlCol="0" anchor="b" anchorCtr="0">
            <a:noAutofit/>
          </a:bodyPr>
          <a:lstStyle>
            <a:lvl1pPr marL="180000" indent="-180000">
              <a:buNone/>
              <a:defRPr lang="cs-CZ" sz="2000" noProof="0" dirty="0">
                <a:solidFill>
                  <a:schemeClr val="bg1"/>
                </a:solidFill>
                <a:effectLst>
                  <a:glow rad="254000">
                    <a:schemeClr val="tx1">
                      <a:alpha val="34000"/>
                    </a:schemeClr>
                  </a:glow>
                </a:effectLst>
              </a:defRPr>
            </a:lvl1pPr>
          </a:lstStyle>
          <a:p>
            <a:pPr marL="0" lvl="0" indent="0">
              <a:lnSpc>
                <a:spcPts val="2400"/>
              </a:lnSpc>
            </a:pPr>
            <a:r>
              <a:rPr lang="cs-CZ" noProof="0" dirty="0"/>
              <a:t>Oddělení</a:t>
            </a:r>
          </a:p>
        </p:txBody>
      </p:sp>
      <p:sp>
        <p:nvSpPr>
          <p:cNvPr id="16" name="Zástupný symbol pro číslo snímku 5"/>
          <p:cNvSpPr>
            <a:spLocks noGrp="1"/>
          </p:cNvSpPr>
          <p:nvPr>
            <p:ph type="sldNum" sz="quarter" idx="10"/>
          </p:nvPr>
        </p:nvSpPr>
        <p:spPr>
          <a:xfrm>
            <a:off x="342849" y="7162496"/>
            <a:ext cx="269960" cy="179962"/>
          </a:xfrm>
        </p:spPr>
        <p:txBody>
          <a:bodyPr/>
          <a:lstStyle>
            <a:lvl1pPr>
              <a:defRPr>
                <a:noFill/>
                <a:latin typeface="SKODA Next" panose="020B0504020603020204" pitchFamily="34" charset="0"/>
              </a:defRPr>
            </a:lvl1pPr>
          </a:lstStyle>
          <a:p>
            <a:fld id="{1E956721-BB38-4972-8ACD-5A2C9377E3B4}" type="slidenum">
              <a:rPr lang="cs-CZ" smtClean="0"/>
              <a:pPr/>
              <a:t>‹#›</a:t>
            </a:fld>
            <a:endParaRPr lang="cs-CZ" dirty="0"/>
          </a:p>
        </p:txBody>
      </p:sp>
      <p:sp>
        <p:nvSpPr>
          <p:cNvPr id="22" name="Zástupný symbol pro zápatí 6"/>
          <p:cNvSpPr>
            <a:spLocks noGrp="1"/>
          </p:cNvSpPr>
          <p:nvPr>
            <p:ph type="ftr" sz="quarter" idx="11"/>
          </p:nvPr>
        </p:nvSpPr>
        <p:spPr>
          <a:xfrm>
            <a:off x="719894" y="7162496"/>
            <a:ext cx="6173596" cy="179962"/>
          </a:xfrm>
        </p:spPr>
        <p:txBody>
          <a:bodyPr/>
          <a:lstStyle>
            <a:lvl1pPr>
              <a:defRPr>
                <a:noFill/>
                <a:latin typeface="SKODA Next" panose="020B0504020603020204" pitchFamily="34" charset="0"/>
              </a:defRPr>
            </a:lvl1pPr>
          </a:lstStyle>
          <a:p>
            <a:endParaRPr lang="cs-CZ" dirty="0"/>
          </a:p>
        </p:txBody>
      </p:sp>
      <p:sp>
        <p:nvSpPr>
          <p:cNvPr id="18" name="TextovéPole 17"/>
          <p:cNvSpPr txBox="1"/>
          <p:nvPr userDrawn="1"/>
        </p:nvSpPr>
        <p:spPr>
          <a:xfrm>
            <a:off x="9720000" y="7358802"/>
            <a:ext cx="720000" cy="108000"/>
          </a:xfrm>
          <a:prstGeom prst="rect">
            <a:avLst/>
          </a:prstGeom>
          <a:noFill/>
        </p:spPr>
        <p:txBody>
          <a:bodyPr wrap="square" lIns="0" tIns="0" rIns="0" bIns="0" rtlCol="0" anchor="b" anchorCtr="0">
            <a:normAutofit/>
          </a:bodyPr>
          <a:lstStyle/>
          <a:p>
            <a:pPr algn="r"/>
            <a:r>
              <a:rPr lang="en-GB" sz="700" b="1" noProof="0" dirty="0">
                <a:solidFill>
                  <a:schemeClr val="bg1"/>
                </a:solidFill>
                <a:effectLst>
                  <a:glow rad="254000">
                    <a:schemeClr val="tx1">
                      <a:alpha val="34000"/>
                    </a:schemeClr>
                  </a:glow>
                </a:effectLst>
                <a:latin typeface="SKODA Next" panose="020B0504020603020204" pitchFamily="34" charset="0"/>
                <a:cs typeface="Arial" panose="020B0604020202020204" pitchFamily="34" charset="0"/>
              </a:rPr>
              <a:t>CONFIDENTIAL</a:t>
            </a:r>
          </a:p>
        </p:txBody>
      </p:sp>
    </p:spTree>
    <p:extLst>
      <p:ext uri="{BB962C8B-B14F-4D97-AF65-F5344CB8AC3E}">
        <p14:creationId xmlns:p14="http://schemas.microsoft.com/office/powerpoint/2010/main" val="1188422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utli Picture">
    <p:spTree>
      <p:nvGrpSpPr>
        <p:cNvPr id="1" name=""/>
        <p:cNvGrpSpPr/>
        <p:nvPr/>
      </p:nvGrpSpPr>
      <p:grpSpPr>
        <a:xfrm>
          <a:off x="0" y="0"/>
          <a:ext cx="0" cy="0"/>
          <a:chOff x="0" y="0"/>
          <a:chExt cx="0" cy="0"/>
        </a:xfrm>
      </p:grpSpPr>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11" name="Zástupný symbol pro obrázek 10"/>
          <p:cNvSpPr>
            <a:spLocks noGrp="1"/>
          </p:cNvSpPr>
          <p:nvPr>
            <p:ph type="pic" sz="quarter" idx="13" hasCustomPrompt="1"/>
          </p:nvPr>
        </p:nvSpPr>
        <p:spPr>
          <a:xfrm>
            <a:off x="342850" y="1439699"/>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3" name="Zástupný symbol pro text 12"/>
          <p:cNvSpPr>
            <a:spLocks noGrp="1"/>
          </p:cNvSpPr>
          <p:nvPr>
            <p:ph type="body" sz="quarter" idx="14" hasCustomPrompt="1"/>
          </p:nvPr>
        </p:nvSpPr>
        <p:spPr>
          <a:xfrm>
            <a:off x="342850" y="3743214"/>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14" name="Zástupný symbol pro obrázek 10"/>
          <p:cNvSpPr>
            <a:spLocks noGrp="1"/>
          </p:cNvSpPr>
          <p:nvPr>
            <p:ph type="pic" sz="quarter" idx="15" hasCustomPrompt="1"/>
          </p:nvPr>
        </p:nvSpPr>
        <p:spPr>
          <a:xfrm>
            <a:off x="342850" y="4139132"/>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5" name="Zástupný symbol pro text 12"/>
          <p:cNvSpPr>
            <a:spLocks noGrp="1"/>
          </p:cNvSpPr>
          <p:nvPr>
            <p:ph type="body" sz="quarter" idx="16" hasCustomPrompt="1"/>
          </p:nvPr>
        </p:nvSpPr>
        <p:spPr>
          <a:xfrm>
            <a:off x="342850" y="6442647"/>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16" name="Zástupný symbol pro obrázek 10"/>
          <p:cNvSpPr>
            <a:spLocks noGrp="1"/>
          </p:cNvSpPr>
          <p:nvPr>
            <p:ph type="pic" sz="quarter" idx="17" hasCustomPrompt="1"/>
          </p:nvPr>
        </p:nvSpPr>
        <p:spPr>
          <a:xfrm>
            <a:off x="5525268" y="1439699"/>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7" name="Zástupný symbol pro text 12"/>
          <p:cNvSpPr>
            <a:spLocks noGrp="1"/>
          </p:cNvSpPr>
          <p:nvPr>
            <p:ph type="body" sz="quarter" idx="18" hasCustomPrompt="1"/>
          </p:nvPr>
        </p:nvSpPr>
        <p:spPr>
          <a:xfrm>
            <a:off x="5525268" y="3743214"/>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18" name="Zástupný symbol pro obrázek 10"/>
          <p:cNvSpPr>
            <a:spLocks noGrp="1"/>
          </p:cNvSpPr>
          <p:nvPr>
            <p:ph type="pic" sz="quarter" idx="19" hasCustomPrompt="1"/>
          </p:nvPr>
        </p:nvSpPr>
        <p:spPr>
          <a:xfrm>
            <a:off x="5525268" y="4139132"/>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9" name="Zástupný symbol pro text 12"/>
          <p:cNvSpPr>
            <a:spLocks noGrp="1"/>
          </p:cNvSpPr>
          <p:nvPr>
            <p:ph type="body" sz="quarter" idx="20" hasCustomPrompt="1"/>
          </p:nvPr>
        </p:nvSpPr>
        <p:spPr>
          <a:xfrm>
            <a:off x="5525268" y="6442647"/>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24"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2" name="Nadpis 1"/>
          <p:cNvSpPr>
            <a:spLocks noGrp="1"/>
          </p:cNvSpPr>
          <p:nvPr>
            <p:ph type="title" hasCustomPrompt="1"/>
          </p:nvPr>
        </p:nvSpPr>
        <p:spPr/>
        <p:txBody>
          <a:bodyPr/>
          <a:lstStyle>
            <a:lvl1pPr>
              <a:defRPr/>
            </a:lvl1pPr>
          </a:lstStyle>
          <a:p>
            <a:r>
              <a:rPr lang="cs-CZ" noProof="0" dirty="0"/>
              <a:t>Nadpis (shrnutí stránky)</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ext Chapter">
    <p:spTree>
      <p:nvGrpSpPr>
        <p:cNvPr id="1" name=""/>
        <p:cNvGrpSpPr/>
        <p:nvPr/>
      </p:nvGrpSpPr>
      <p:grpSpPr>
        <a:xfrm>
          <a:off x="0" y="0"/>
          <a:ext cx="0" cy="0"/>
          <a:chOff x="0" y="0"/>
          <a:chExt cx="0" cy="0"/>
        </a:xfrm>
      </p:grpSpPr>
      <p:sp>
        <p:nvSpPr>
          <p:cNvPr id="6" name="Zástupný symbol pro číslo snímku 5"/>
          <p:cNvSpPr>
            <a:spLocks noGrp="1"/>
          </p:cNvSpPr>
          <p:nvPr>
            <p:ph type="sldNum" sz="quarter" idx="10"/>
          </p:nvPr>
        </p:nvSpPr>
        <p:spPr/>
        <p:txBody>
          <a:bodyPr/>
          <a:lstStyle>
            <a:lvl1pPr>
              <a:defRPr>
                <a:solidFill>
                  <a:schemeClr val="tx1"/>
                </a:solidFill>
                <a:latin typeface="SKODA Next" panose="020B0504020603020204" pitchFamily="34" charset="0"/>
              </a:defRPr>
            </a:lvl1pPr>
          </a:lstStyle>
          <a:p>
            <a:fld id="{1E956721-BB38-4972-8ACD-5A2C9377E3B4}" type="slidenum">
              <a:rPr lang="cs-CZ" smtClean="0"/>
              <a:pPr/>
              <a:t>‹#›</a:t>
            </a:fld>
            <a:endParaRPr lang="cs-CZ" dirty="0"/>
          </a:p>
        </p:txBody>
      </p:sp>
      <p:sp>
        <p:nvSpPr>
          <p:cNvPr id="7" name="Zástupný symbol pro zápatí 6"/>
          <p:cNvSpPr>
            <a:spLocks noGrp="1"/>
          </p:cNvSpPr>
          <p:nvPr>
            <p:ph type="ftr" sz="quarter" idx="11"/>
          </p:nvPr>
        </p:nvSpPr>
        <p:spPr/>
        <p:txBody>
          <a:bodyPr/>
          <a:lstStyle>
            <a:lvl1pPr>
              <a:defRPr>
                <a:solidFill>
                  <a:schemeClr val="tx1"/>
                </a:solidFill>
                <a:latin typeface="SKODA Next" panose="020B0504020603020204" pitchFamily="34" charset="0"/>
              </a:defRPr>
            </a:lvl1pPr>
          </a:lstStyle>
          <a:p>
            <a:endParaRPr lang="cs-CZ" dirty="0"/>
          </a:p>
        </p:txBody>
      </p:sp>
      <p:sp>
        <p:nvSpPr>
          <p:cNvPr id="10"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 name="Nadpis 2"/>
          <p:cNvSpPr>
            <a:spLocks noGrp="1"/>
          </p:cNvSpPr>
          <p:nvPr>
            <p:ph type="title" hasCustomPrompt="1"/>
          </p:nvPr>
        </p:nvSpPr>
        <p:spPr/>
        <p:txBody>
          <a:bodyPr/>
          <a:lstStyle>
            <a:lvl1pPr>
              <a:defRPr baseline="0"/>
            </a:lvl1pPr>
          </a:lstStyle>
          <a:p>
            <a:r>
              <a:rPr lang="cs-CZ" noProof="0" dirty="0"/>
              <a:t>Další kapitol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Dar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20" name="Skupina 19"/>
          <p:cNvGrpSpPr/>
          <p:nvPr userDrawn="1"/>
        </p:nvGrpSpPr>
        <p:grpSpPr>
          <a:xfrm>
            <a:off x="-1" y="-1905"/>
            <a:ext cx="10691994" cy="5870435"/>
            <a:chOff x="-1" y="-1905"/>
            <a:chExt cx="10691994" cy="5870435"/>
          </a:xfrm>
        </p:grpSpPr>
        <p:sp>
          <p:nvSpPr>
            <p:cNvPr id="28" name="Volný tvar 27"/>
            <p:cNvSpPr/>
            <p:nvPr userDrawn="1"/>
          </p:nvSpPr>
          <p:spPr>
            <a:xfrm>
              <a:off x="8671948" y="0"/>
              <a:ext cx="2019872" cy="3165168"/>
            </a:xfrm>
            <a:custGeom>
              <a:avLst/>
              <a:gdLst>
                <a:gd name="connsiteX0" fmla="*/ 1600200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5886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7782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9678 w 1609678"/>
                <a:gd name="connsiteY0" fmla="*/ 0 h 2472267"/>
                <a:gd name="connsiteX1" fmla="*/ 711200 w 1609678"/>
                <a:gd name="connsiteY1" fmla="*/ 0 h 2472267"/>
                <a:gd name="connsiteX2" fmla="*/ 0 w 1609678"/>
                <a:gd name="connsiteY2" fmla="*/ 1549400 h 2472267"/>
                <a:gd name="connsiteX3" fmla="*/ 465666 w 1609678"/>
                <a:gd name="connsiteY3" fmla="*/ 2472267 h 2472267"/>
                <a:gd name="connsiteX4" fmla="*/ 1608666 w 1609678"/>
                <a:gd name="connsiteY4" fmla="*/ 2472267 h 2472267"/>
                <a:gd name="connsiteX0" fmla="*/ 1609678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4 w 1611574"/>
                <a:gd name="connsiteY0" fmla="*/ 0 h 2472267"/>
                <a:gd name="connsiteX1" fmla="*/ 711200 w 1611574"/>
                <a:gd name="connsiteY1" fmla="*/ 0 h 2472267"/>
                <a:gd name="connsiteX2" fmla="*/ 0 w 1611574"/>
                <a:gd name="connsiteY2" fmla="*/ 1549400 h 2472267"/>
                <a:gd name="connsiteX3" fmla="*/ 465666 w 1611574"/>
                <a:gd name="connsiteY3" fmla="*/ 2472267 h 2472267"/>
                <a:gd name="connsiteX4" fmla="*/ 1610561 w 1611574"/>
                <a:gd name="connsiteY4" fmla="*/ 2472267 h 2472267"/>
                <a:gd name="connsiteX0" fmla="*/ 1609679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5 w 1611575"/>
                <a:gd name="connsiteY0" fmla="*/ 0 h 2472267"/>
                <a:gd name="connsiteX1" fmla="*/ 711200 w 1611575"/>
                <a:gd name="connsiteY1" fmla="*/ 0 h 2472267"/>
                <a:gd name="connsiteX2" fmla="*/ 0 w 1611575"/>
                <a:gd name="connsiteY2" fmla="*/ 1549400 h 2472267"/>
                <a:gd name="connsiteX3" fmla="*/ 465666 w 1611575"/>
                <a:gd name="connsiteY3" fmla="*/ 2472267 h 2472267"/>
                <a:gd name="connsiteX4" fmla="*/ 1610561 w 1611575"/>
                <a:gd name="connsiteY4" fmla="*/ 2472267 h 2472267"/>
                <a:gd name="connsiteX0" fmla="*/ 1609680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3995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9681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7 w 1611577"/>
                <a:gd name="connsiteY0" fmla="*/ 0 h 2472267"/>
                <a:gd name="connsiteX1" fmla="*/ 711200 w 1611577"/>
                <a:gd name="connsiteY1" fmla="*/ 0 h 2472267"/>
                <a:gd name="connsiteX2" fmla="*/ 0 w 1611577"/>
                <a:gd name="connsiteY2" fmla="*/ 1549400 h 2472267"/>
                <a:gd name="connsiteX3" fmla="*/ 465666 w 1611577"/>
                <a:gd name="connsiteY3" fmla="*/ 2472267 h 2472267"/>
                <a:gd name="connsiteX4" fmla="*/ 1610561 w 1611577"/>
                <a:gd name="connsiteY4" fmla="*/ 2472267 h 2472267"/>
                <a:gd name="connsiteX0" fmla="*/ 1609682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7787 w 1608666"/>
                <a:gd name="connsiteY0" fmla="*/ 0 h 2472267"/>
                <a:gd name="connsiteX1" fmla="*/ 709305 w 1608666"/>
                <a:gd name="connsiteY1" fmla="*/ 0 h 2472267"/>
                <a:gd name="connsiteX2" fmla="*/ 0 w 1608666"/>
                <a:gd name="connsiteY2" fmla="*/ 1549400 h 2472267"/>
                <a:gd name="connsiteX3" fmla="*/ 463771 w 1608666"/>
                <a:gd name="connsiteY3" fmla="*/ 2472267 h 2472267"/>
                <a:gd name="connsiteX4" fmla="*/ 1608666 w 1608666"/>
                <a:gd name="connsiteY4" fmla="*/ 2472267 h 2472267"/>
                <a:gd name="connsiteX0" fmla="*/ 1603996 w 1604875"/>
                <a:gd name="connsiteY0" fmla="*/ 0 h 2472267"/>
                <a:gd name="connsiteX1" fmla="*/ 705514 w 1604875"/>
                <a:gd name="connsiteY1" fmla="*/ 0 h 2472267"/>
                <a:gd name="connsiteX2" fmla="*/ 0 w 1604875"/>
                <a:gd name="connsiteY2" fmla="*/ 1549400 h 2472267"/>
                <a:gd name="connsiteX3" fmla="*/ 459980 w 1604875"/>
                <a:gd name="connsiteY3" fmla="*/ 2472267 h 2472267"/>
                <a:gd name="connsiteX4" fmla="*/ 1604875 w 1604875"/>
                <a:gd name="connsiteY4" fmla="*/ 2472267 h 2472267"/>
                <a:gd name="connsiteX0" fmla="*/ 1603996 w 1604875"/>
                <a:gd name="connsiteY0" fmla="*/ 1905 h 2474172"/>
                <a:gd name="connsiteX1" fmla="*/ 457229 w 1604875"/>
                <a:gd name="connsiteY1" fmla="*/ 0 h 2474172"/>
                <a:gd name="connsiteX2" fmla="*/ 0 w 1604875"/>
                <a:gd name="connsiteY2" fmla="*/ 1551305 h 2474172"/>
                <a:gd name="connsiteX3" fmla="*/ 459980 w 1604875"/>
                <a:gd name="connsiteY3" fmla="*/ 2474172 h 2474172"/>
                <a:gd name="connsiteX4" fmla="*/ 1604875 w 1604875"/>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5576 w 2010471"/>
                <a:gd name="connsiteY3" fmla="*/ 2474172 h 2474172"/>
                <a:gd name="connsiteX4" fmla="*/ 2010471 w 2010471"/>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7472 w 2010471"/>
                <a:gd name="connsiteY3" fmla="*/ 2474172 h 2474172"/>
                <a:gd name="connsiteX4" fmla="*/ 2010471 w 2010471"/>
                <a:gd name="connsiteY4" fmla="*/ 2474172 h 2474172"/>
                <a:gd name="connsiteX0" fmla="*/ 2009592 w 2010471"/>
                <a:gd name="connsiteY0" fmla="*/ 1905 h 3163927"/>
                <a:gd name="connsiteX1" fmla="*/ 862825 w 2010471"/>
                <a:gd name="connsiteY1" fmla="*/ 0 h 3163927"/>
                <a:gd name="connsiteX2" fmla="*/ 0 w 2010471"/>
                <a:gd name="connsiteY2" fmla="*/ 1898088 h 3163927"/>
                <a:gd name="connsiteX3" fmla="*/ 867472 w 2010471"/>
                <a:gd name="connsiteY3" fmla="*/ 2474172 h 3163927"/>
                <a:gd name="connsiteX4" fmla="*/ 2010471 w 2010471"/>
                <a:gd name="connsiteY4" fmla="*/ 3163927 h 3163927"/>
                <a:gd name="connsiteX0" fmla="*/ 2009592 w 2010471"/>
                <a:gd name="connsiteY0" fmla="*/ 1905 h 3163927"/>
                <a:gd name="connsiteX1" fmla="*/ 862825 w 2010471"/>
                <a:gd name="connsiteY1" fmla="*/ 0 h 3163927"/>
                <a:gd name="connsiteX2" fmla="*/ 0 w 2010471"/>
                <a:gd name="connsiteY2" fmla="*/ 1898088 h 3163927"/>
                <a:gd name="connsiteX3" fmla="*/ 640035 w 2010471"/>
                <a:gd name="connsiteY3" fmla="*/ 3163927 h 3163927"/>
                <a:gd name="connsiteX4" fmla="*/ 2010471 w 2010471"/>
                <a:gd name="connsiteY4" fmla="*/ 3163927 h 3163927"/>
                <a:gd name="connsiteX0" fmla="*/ 2009592 w 2010471"/>
                <a:gd name="connsiteY0" fmla="*/ 1905 h 3167738"/>
                <a:gd name="connsiteX1" fmla="*/ 862825 w 2010471"/>
                <a:gd name="connsiteY1" fmla="*/ 0 h 3167738"/>
                <a:gd name="connsiteX2" fmla="*/ 0 w 2010471"/>
                <a:gd name="connsiteY2" fmla="*/ 1898088 h 3167738"/>
                <a:gd name="connsiteX3" fmla="*/ 640035 w 2010471"/>
                <a:gd name="connsiteY3" fmla="*/ 3163927 h 3167738"/>
                <a:gd name="connsiteX4" fmla="*/ 2010471 w 2010471"/>
                <a:gd name="connsiteY4" fmla="*/ 3167738 h 3167738"/>
                <a:gd name="connsiteX0" fmla="*/ 2009592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3383 w 2013383"/>
                <a:gd name="connsiteY0" fmla="*/ 1905 h 3167738"/>
                <a:gd name="connsiteX1" fmla="*/ 862825 w 2013383"/>
                <a:gd name="connsiteY1" fmla="*/ 0 h 3167738"/>
                <a:gd name="connsiteX2" fmla="*/ 0 w 2013383"/>
                <a:gd name="connsiteY2" fmla="*/ 1898088 h 3167738"/>
                <a:gd name="connsiteX3" fmla="*/ 641930 w 2013383"/>
                <a:gd name="connsiteY3" fmla="*/ 3167738 h 3167738"/>
                <a:gd name="connsiteX4" fmla="*/ 2010471 w 2013383"/>
                <a:gd name="connsiteY4" fmla="*/ 3167738 h 3167738"/>
                <a:gd name="connsiteX0" fmla="*/ 2011488 w 2011488"/>
                <a:gd name="connsiteY0" fmla="*/ 1905 h 3167738"/>
                <a:gd name="connsiteX1" fmla="*/ 862825 w 2011488"/>
                <a:gd name="connsiteY1" fmla="*/ 0 h 3167738"/>
                <a:gd name="connsiteX2" fmla="*/ 0 w 2011488"/>
                <a:gd name="connsiteY2" fmla="*/ 1898088 h 3167738"/>
                <a:gd name="connsiteX3" fmla="*/ 641930 w 2011488"/>
                <a:gd name="connsiteY3" fmla="*/ 3167738 h 3167738"/>
                <a:gd name="connsiteX4" fmla="*/ 2010471 w 2011488"/>
                <a:gd name="connsiteY4" fmla="*/ 3167738 h 3167738"/>
                <a:gd name="connsiteX0" fmla="*/ 2009593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1489 w 2011489"/>
                <a:gd name="connsiteY0" fmla="*/ 1905 h 3167738"/>
                <a:gd name="connsiteX1" fmla="*/ 862825 w 2011489"/>
                <a:gd name="connsiteY1" fmla="*/ 0 h 3167738"/>
                <a:gd name="connsiteX2" fmla="*/ 0 w 2011489"/>
                <a:gd name="connsiteY2" fmla="*/ 1898088 h 3167738"/>
                <a:gd name="connsiteX3" fmla="*/ 641930 w 2011489"/>
                <a:gd name="connsiteY3" fmla="*/ 3167738 h 3167738"/>
                <a:gd name="connsiteX4" fmla="*/ 2010471 w 2011489"/>
                <a:gd name="connsiteY4" fmla="*/ 3167738 h 3167738"/>
                <a:gd name="connsiteX0" fmla="*/ 2009594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09594 w 2009594"/>
                <a:gd name="connsiteY0" fmla="*/ 1905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9643"/>
                <a:gd name="connsiteX1" fmla="*/ 862825 w 2009594"/>
                <a:gd name="connsiteY1" fmla="*/ 1905 h 3169643"/>
                <a:gd name="connsiteX2" fmla="*/ 0 w 2009594"/>
                <a:gd name="connsiteY2" fmla="*/ 1899993 h 3169643"/>
                <a:gd name="connsiteX3" fmla="*/ 641930 w 2009594"/>
                <a:gd name="connsiteY3" fmla="*/ 3169643 h 3169643"/>
                <a:gd name="connsiteX4" fmla="*/ 2008576 w 2009594"/>
                <a:gd name="connsiteY4" fmla="*/ 3169643 h 3169643"/>
                <a:gd name="connsiteX0" fmla="*/ 2009594 w 2009594"/>
                <a:gd name="connsiteY0" fmla="*/ 0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1905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5833"/>
                <a:gd name="connsiteX1" fmla="*/ 860930 w 2009594"/>
                <a:gd name="connsiteY1" fmla="*/ 0 h 3165833"/>
                <a:gd name="connsiteX2" fmla="*/ 0 w 2009594"/>
                <a:gd name="connsiteY2" fmla="*/ 1896183 h 3165833"/>
                <a:gd name="connsiteX3" fmla="*/ 641930 w 2009594"/>
                <a:gd name="connsiteY3" fmla="*/ 3165833 h 3165833"/>
                <a:gd name="connsiteX4" fmla="*/ 2008576 w 2009594"/>
                <a:gd name="connsiteY4" fmla="*/ 3165833 h 316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594" h="3165833">
                  <a:moveTo>
                    <a:pt x="2009594" y="0"/>
                  </a:moveTo>
                  <a:lnTo>
                    <a:pt x="860930" y="0"/>
                  </a:lnTo>
                  <a:lnTo>
                    <a:pt x="0" y="1896183"/>
                  </a:lnTo>
                  <a:lnTo>
                    <a:pt x="641930" y="3165833"/>
                  </a:lnTo>
                  <a:lnTo>
                    <a:pt x="2008576" y="3165833"/>
                  </a:lnTo>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29" name="Volný tvar 28"/>
            <p:cNvSpPr/>
            <p:nvPr userDrawn="1"/>
          </p:nvSpPr>
          <p:spPr>
            <a:xfrm>
              <a:off x="9316886" y="3164324"/>
              <a:ext cx="1375107" cy="2704206"/>
            </a:xfrm>
            <a:custGeom>
              <a:avLst/>
              <a:gdLst>
                <a:gd name="connsiteX0" fmla="*/ 1134533 w 1134533"/>
                <a:gd name="connsiteY0" fmla="*/ 0 h 2243667"/>
                <a:gd name="connsiteX1" fmla="*/ 1134533 w 1134533"/>
                <a:gd name="connsiteY1" fmla="*/ 2243667 h 2243667"/>
                <a:gd name="connsiteX2" fmla="*/ 0 w 1134533"/>
                <a:gd name="connsiteY2" fmla="*/ 0 h 2243667"/>
                <a:gd name="connsiteX0" fmla="*/ 1134533 w 1138298"/>
                <a:gd name="connsiteY0" fmla="*/ 0 h 3398339"/>
                <a:gd name="connsiteX1" fmla="*/ 1138298 w 1138298"/>
                <a:gd name="connsiteY1" fmla="*/ 3398339 h 3398339"/>
                <a:gd name="connsiteX2" fmla="*/ 0 w 1138298"/>
                <a:gd name="connsiteY2" fmla="*/ 0 h 3398339"/>
                <a:gd name="connsiteX0" fmla="*/ 1134533 w 1138298"/>
                <a:gd name="connsiteY0" fmla="*/ 693566 h 3398339"/>
                <a:gd name="connsiteX1" fmla="*/ 1138298 w 1138298"/>
                <a:gd name="connsiteY1" fmla="*/ 3398339 h 3398339"/>
                <a:gd name="connsiteX2" fmla="*/ 0 w 1138298"/>
                <a:gd name="connsiteY2" fmla="*/ 0 h 3398339"/>
                <a:gd name="connsiteX0" fmla="*/ 1356642 w 1360407"/>
                <a:gd name="connsiteY0" fmla="*/ 0 h 2704773"/>
                <a:gd name="connsiteX1" fmla="*/ 1360407 w 1360407"/>
                <a:gd name="connsiteY1" fmla="*/ 2704773 h 2704773"/>
                <a:gd name="connsiteX2" fmla="*/ 0 w 1360407"/>
                <a:gd name="connsiteY2" fmla="*/ 0 h 2704773"/>
                <a:gd name="connsiteX0" fmla="*/ 1356642 w 1358525"/>
                <a:gd name="connsiteY0" fmla="*/ 0 h 2704773"/>
                <a:gd name="connsiteX1" fmla="*/ 1358525 w 1358525"/>
                <a:gd name="connsiteY1" fmla="*/ 2704773 h 2704773"/>
                <a:gd name="connsiteX2" fmla="*/ 0 w 1358525"/>
                <a:gd name="connsiteY2" fmla="*/ 0 h 2704773"/>
                <a:gd name="connsiteX0" fmla="*/ 1358524 w 1358705"/>
                <a:gd name="connsiteY0" fmla="*/ 0 h 2704773"/>
                <a:gd name="connsiteX1" fmla="*/ 1358525 w 1358705"/>
                <a:gd name="connsiteY1" fmla="*/ 2704773 h 2704773"/>
                <a:gd name="connsiteX2" fmla="*/ 0 w 1358705"/>
                <a:gd name="connsiteY2" fmla="*/ 0 h 2704773"/>
                <a:gd name="connsiteX0" fmla="*/ 1360406 w 1360587"/>
                <a:gd name="connsiteY0" fmla="*/ 0 h 2704773"/>
                <a:gd name="connsiteX1" fmla="*/ 1360407 w 1360587"/>
                <a:gd name="connsiteY1" fmla="*/ 2704773 h 2704773"/>
                <a:gd name="connsiteX2" fmla="*/ 0 w 1360587"/>
                <a:gd name="connsiteY2" fmla="*/ 0 h 2704773"/>
                <a:gd name="connsiteX0" fmla="*/ 1358524 w 1360407"/>
                <a:gd name="connsiteY0" fmla="*/ 0 h 2704773"/>
                <a:gd name="connsiteX1" fmla="*/ 1360407 w 1360407"/>
                <a:gd name="connsiteY1" fmla="*/ 2704773 h 2704773"/>
                <a:gd name="connsiteX2" fmla="*/ 0 w 1360407"/>
                <a:gd name="connsiteY2" fmla="*/ 0 h 2704773"/>
                <a:gd name="connsiteX0" fmla="*/ 1358524 w 1358705"/>
                <a:gd name="connsiteY0" fmla="*/ 0 h 2704773"/>
                <a:gd name="connsiteX1" fmla="*/ 1358525 w 1358705"/>
                <a:gd name="connsiteY1" fmla="*/ 2704773 h 2704773"/>
                <a:gd name="connsiteX2" fmla="*/ 0 w 1358705"/>
                <a:gd name="connsiteY2" fmla="*/ 0 h 2704773"/>
              </a:gdLst>
              <a:ahLst/>
              <a:cxnLst>
                <a:cxn ang="0">
                  <a:pos x="connsiteX0" y="connsiteY0"/>
                </a:cxn>
                <a:cxn ang="0">
                  <a:pos x="connsiteX1" y="connsiteY1"/>
                </a:cxn>
                <a:cxn ang="0">
                  <a:pos x="connsiteX2" y="connsiteY2"/>
                </a:cxn>
              </a:cxnLst>
              <a:rect l="l" t="t" r="r" b="b"/>
              <a:pathLst>
                <a:path w="1358705" h="2704773">
                  <a:moveTo>
                    <a:pt x="1358524" y="0"/>
                  </a:moveTo>
                  <a:cubicBezTo>
                    <a:pt x="1359152" y="901591"/>
                    <a:pt x="1357897" y="1803182"/>
                    <a:pt x="1358525" y="2704773"/>
                  </a:cubicBezTo>
                  <a:cubicBezTo>
                    <a:pt x="980347" y="1956884"/>
                    <a:pt x="378178" y="747889"/>
                    <a:pt x="0" y="0"/>
                  </a:cubicBezTo>
                </a:path>
              </a:pathLst>
            </a:custGeom>
            <a:gradFill>
              <a:gsLst>
                <a:gs pos="0">
                  <a:schemeClr val="bg1"/>
                </a:gs>
                <a:gs pos="100000">
                  <a:schemeClr val="bg1">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0" name="Volný tvar 29"/>
            <p:cNvSpPr/>
            <p:nvPr userDrawn="1"/>
          </p:nvSpPr>
          <p:spPr>
            <a:xfrm>
              <a:off x="2381428" y="0"/>
              <a:ext cx="7155030" cy="1892480"/>
            </a:xfrm>
            <a:custGeom>
              <a:avLst/>
              <a:gdLst>
                <a:gd name="connsiteX0" fmla="*/ 7442200 w 8144934"/>
                <a:gd name="connsiteY0" fmla="*/ 1540934 h 1540934"/>
                <a:gd name="connsiteX1" fmla="*/ 8144934 w 8144934"/>
                <a:gd name="connsiteY1" fmla="*/ 0 h 1540934"/>
                <a:gd name="connsiteX2" fmla="*/ 0 w 8144934"/>
                <a:gd name="connsiteY2" fmla="*/ 0 h 1540934"/>
                <a:gd name="connsiteX0" fmla="*/ 7438390 w 8144934"/>
                <a:gd name="connsiteY0" fmla="*/ 1540934 h 1540934"/>
                <a:gd name="connsiteX1" fmla="*/ 8144934 w 8144934"/>
                <a:gd name="connsiteY1" fmla="*/ 0 h 1540934"/>
                <a:gd name="connsiteX2" fmla="*/ 0 w 8144934"/>
                <a:gd name="connsiteY2" fmla="*/ 0 h 1540934"/>
                <a:gd name="connsiteX0" fmla="*/ 7032565 w 8144934"/>
                <a:gd name="connsiteY0" fmla="*/ 1882340 h 1882340"/>
                <a:gd name="connsiteX1" fmla="*/ 8144934 w 8144934"/>
                <a:gd name="connsiteY1" fmla="*/ 0 h 1882340"/>
                <a:gd name="connsiteX2" fmla="*/ 0 w 8144934"/>
                <a:gd name="connsiteY2" fmla="*/ 0 h 1882340"/>
                <a:gd name="connsiteX0" fmla="*/ 7030660 w 8144934"/>
                <a:gd name="connsiteY0" fmla="*/ 1882340 h 1882340"/>
                <a:gd name="connsiteX1" fmla="*/ 8144934 w 8144934"/>
                <a:gd name="connsiteY1" fmla="*/ 0 h 1882340"/>
                <a:gd name="connsiteX2" fmla="*/ 0 w 8144934"/>
                <a:gd name="connsiteY2" fmla="*/ 0 h 1882340"/>
                <a:gd name="connsiteX0" fmla="*/ 7030660 w 7895342"/>
                <a:gd name="connsiteY0" fmla="*/ 1882340 h 1882340"/>
                <a:gd name="connsiteX1" fmla="*/ 7895342 w 7895342"/>
                <a:gd name="connsiteY1" fmla="*/ 0 h 1882340"/>
                <a:gd name="connsiteX2" fmla="*/ 0 w 7895342"/>
                <a:gd name="connsiteY2" fmla="*/ 0 h 1882340"/>
                <a:gd name="connsiteX0" fmla="*/ 6272357 w 7137039"/>
                <a:gd name="connsiteY0" fmla="*/ 1884237 h 1884237"/>
                <a:gd name="connsiteX1" fmla="*/ 7137039 w 7137039"/>
                <a:gd name="connsiteY1" fmla="*/ 1897 h 1884237"/>
                <a:gd name="connsiteX2" fmla="*/ 0 w 7137039"/>
                <a:gd name="connsiteY2" fmla="*/ 0 h 1884237"/>
                <a:gd name="connsiteX0" fmla="*/ 6276168 w 7137039"/>
                <a:gd name="connsiteY0" fmla="*/ 1882340 h 1882340"/>
                <a:gd name="connsiteX1" fmla="*/ 7137039 w 7137039"/>
                <a:gd name="connsiteY1" fmla="*/ 1897 h 1882340"/>
                <a:gd name="connsiteX2" fmla="*/ 0 w 7137039"/>
                <a:gd name="connsiteY2" fmla="*/ 0 h 1882340"/>
                <a:gd name="connsiteX0" fmla="*/ 6276168 w 7137039"/>
                <a:gd name="connsiteY0" fmla="*/ 1886133 h 1886133"/>
                <a:gd name="connsiteX1" fmla="*/ 7137039 w 7137039"/>
                <a:gd name="connsiteY1" fmla="*/ 1897 h 1886133"/>
                <a:gd name="connsiteX2" fmla="*/ 0 w 7137039"/>
                <a:gd name="connsiteY2" fmla="*/ 0 h 1886133"/>
                <a:gd name="connsiteX0" fmla="*/ 6291410 w 7152281"/>
                <a:gd name="connsiteY0" fmla="*/ 1884236 h 1884236"/>
                <a:gd name="connsiteX1" fmla="*/ 7152281 w 7152281"/>
                <a:gd name="connsiteY1" fmla="*/ 0 h 1884236"/>
                <a:gd name="connsiteX2" fmla="*/ 0 w 7152281"/>
                <a:gd name="connsiteY2" fmla="*/ 0 h 1884236"/>
                <a:gd name="connsiteX0" fmla="*/ 6293315 w 7154186"/>
                <a:gd name="connsiteY0" fmla="*/ 1884236 h 1884236"/>
                <a:gd name="connsiteX1" fmla="*/ 7154186 w 7154186"/>
                <a:gd name="connsiteY1" fmla="*/ 0 h 1884236"/>
                <a:gd name="connsiteX2" fmla="*/ 0 w 7154186"/>
                <a:gd name="connsiteY2" fmla="*/ 0 h 1884236"/>
                <a:gd name="connsiteX0" fmla="*/ 6295220 w 7156091"/>
                <a:gd name="connsiteY0" fmla="*/ 1884236 h 1884236"/>
                <a:gd name="connsiteX1" fmla="*/ 7156091 w 7156091"/>
                <a:gd name="connsiteY1" fmla="*/ 0 h 1884236"/>
                <a:gd name="connsiteX2" fmla="*/ 0 w 7156091"/>
                <a:gd name="connsiteY2" fmla="*/ 0 h 1884236"/>
              </a:gdLst>
              <a:ahLst/>
              <a:cxnLst>
                <a:cxn ang="0">
                  <a:pos x="connsiteX0" y="connsiteY0"/>
                </a:cxn>
                <a:cxn ang="0">
                  <a:pos x="connsiteX1" y="connsiteY1"/>
                </a:cxn>
                <a:cxn ang="0">
                  <a:pos x="connsiteX2" y="connsiteY2"/>
                </a:cxn>
              </a:cxnLst>
              <a:rect l="l" t="t" r="r" b="b"/>
              <a:pathLst>
                <a:path w="7156091" h="1884236">
                  <a:moveTo>
                    <a:pt x="6295220" y="1884236"/>
                  </a:moveTo>
                  <a:lnTo>
                    <a:pt x="7156091" y="0"/>
                  </a:lnTo>
                  <a:lnTo>
                    <a:pt x="0" y="0"/>
                  </a:lnTo>
                </a:path>
              </a:pathLst>
            </a:custGeom>
            <a:solidFill>
              <a:schemeClr val="tx1">
                <a:lumMod val="50000"/>
                <a:lumOff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1" name="Volný tvar 30"/>
            <p:cNvSpPr/>
            <p:nvPr userDrawn="1"/>
          </p:nvSpPr>
          <p:spPr>
            <a:xfrm>
              <a:off x="-1" y="-1905"/>
              <a:ext cx="8678465" cy="4438313"/>
            </a:xfrm>
            <a:custGeom>
              <a:avLst/>
              <a:gdLst>
                <a:gd name="connsiteX0" fmla="*/ 9084733 w 9084733"/>
                <a:gd name="connsiteY0" fmla="*/ 1549400 h 3623734"/>
                <a:gd name="connsiteX1" fmla="*/ 1659466 w 9084733"/>
                <a:gd name="connsiteY1" fmla="*/ 0 h 3623734"/>
                <a:gd name="connsiteX2" fmla="*/ 0 w 9084733"/>
                <a:gd name="connsiteY2" fmla="*/ 0 h 3623734"/>
                <a:gd name="connsiteX3" fmla="*/ 0 w 9084733"/>
                <a:gd name="connsiteY3" fmla="*/ 3623734 h 3623734"/>
                <a:gd name="connsiteX0" fmla="*/ 9071408 w 9071408"/>
                <a:gd name="connsiteY0" fmla="*/ 1547495 h 3623734"/>
                <a:gd name="connsiteX1" fmla="*/ 1659466 w 9071408"/>
                <a:gd name="connsiteY1" fmla="*/ 0 h 3623734"/>
                <a:gd name="connsiteX2" fmla="*/ 0 w 9071408"/>
                <a:gd name="connsiteY2" fmla="*/ 0 h 3623734"/>
                <a:gd name="connsiteX3" fmla="*/ 0 w 9071408"/>
                <a:gd name="connsiteY3" fmla="*/ 3623734 h 3623734"/>
                <a:gd name="connsiteX0" fmla="*/ 9073312 w 9073312"/>
                <a:gd name="connsiteY0" fmla="*/ 1547495 h 4437340"/>
                <a:gd name="connsiteX1" fmla="*/ 1661370 w 9073312"/>
                <a:gd name="connsiteY1" fmla="*/ 0 h 4437340"/>
                <a:gd name="connsiteX2" fmla="*/ 1904 w 9073312"/>
                <a:gd name="connsiteY2" fmla="*/ 0 h 4437340"/>
                <a:gd name="connsiteX3" fmla="*/ 0 w 9073312"/>
                <a:gd name="connsiteY3" fmla="*/ 4437340 h 4437340"/>
                <a:gd name="connsiteX0" fmla="*/ 9071408 w 9071408"/>
                <a:gd name="connsiteY0" fmla="*/ 1547495 h 4437340"/>
                <a:gd name="connsiteX1" fmla="*/ 1659466 w 9071408"/>
                <a:gd name="connsiteY1" fmla="*/ 0 h 4437340"/>
                <a:gd name="connsiteX2" fmla="*/ 0 w 9071408"/>
                <a:gd name="connsiteY2" fmla="*/ 0 h 4437340"/>
                <a:gd name="connsiteX3" fmla="*/ 0 w 9071408"/>
                <a:gd name="connsiteY3" fmla="*/ 4437340 h 4437340"/>
                <a:gd name="connsiteX0" fmla="*/ 8667864 w 8667864"/>
                <a:gd name="connsiteY0" fmla="*/ 1894278 h 4437340"/>
                <a:gd name="connsiteX1" fmla="*/ 1659466 w 8667864"/>
                <a:gd name="connsiteY1" fmla="*/ 0 h 4437340"/>
                <a:gd name="connsiteX2" fmla="*/ 0 w 8667864"/>
                <a:gd name="connsiteY2" fmla="*/ 0 h 4437340"/>
                <a:gd name="connsiteX3" fmla="*/ 0 w 8667864"/>
                <a:gd name="connsiteY3" fmla="*/ 4437340 h 4437340"/>
                <a:gd name="connsiteX0" fmla="*/ 8667864 w 8667864"/>
                <a:gd name="connsiteY0" fmla="*/ 1896183 h 4439245"/>
                <a:gd name="connsiteX1" fmla="*/ 2373282 w 8667864"/>
                <a:gd name="connsiteY1" fmla="*/ 0 h 4439245"/>
                <a:gd name="connsiteX2" fmla="*/ 0 w 8667864"/>
                <a:gd name="connsiteY2" fmla="*/ 1905 h 4439245"/>
                <a:gd name="connsiteX3" fmla="*/ 0 w 8667864"/>
                <a:gd name="connsiteY3" fmla="*/ 4439245 h 4439245"/>
                <a:gd name="connsiteX0" fmla="*/ 8671671 w 8671671"/>
                <a:gd name="connsiteY0" fmla="*/ 1894278 h 4439245"/>
                <a:gd name="connsiteX1" fmla="*/ 2373282 w 8671671"/>
                <a:gd name="connsiteY1" fmla="*/ 0 h 4439245"/>
                <a:gd name="connsiteX2" fmla="*/ 0 w 8671671"/>
                <a:gd name="connsiteY2" fmla="*/ 1905 h 4439245"/>
                <a:gd name="connsiteX3" fmla="*/ 0 w 8671671"/>
                <a:gd name="connsiteY3" fmla="*/ 4439245 h 4439245"/>
              </a:gdLst>
              <a:ahLst/>
              <a:cxnLst>
                <a:cxn ang="0">
                  <a:pos x="connsiteX0" y="connsiteY0"/>
                </a:cxn>
                <a:cxn ang="0">
                  <a:pos x="connsiteX1" y="connsiteY1"/>
                </a:cxn>
                <a:cxn ang="0">
                  <a:pos x="connsiteX2" y="connsiteY2"/>
                </a:cxn>
                <a:cxn ang="0">
                  <a:pos x="connsiteX3" y="connsiteY3"/>
                </a:cxn>
              </a:cxnLst>
              <a:rect l="l" t="t" r="r" b="b"/>
              <a:pathLst>
                <a:path w="8671671" h="4439245">
                  <a:moveTo>
                    <a:pt x="8671671" y="1894278"/>
                  </a:moveTo>
                  <a:lnTo>
                    <a:pt x="2373282" y="0"/>
                  </a:lnTo>
                  <a:lnTo>
                    <a:pt x="0" y="1905"/>
                  </a:lnTo>
                  <a:lnTo>
                    <a:pt x="0" y="4439245"/>
                  </a:lnTo>
                </a:path>
              </a:pathLst>
            </a:custGeom>
            <a:solidFill>
              <a:schemeClr val="tx1">
                <a:lumMod val="50000"/>
                <a:lumOff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pic>
          <p:nvPicPr>
            <p:cNvPr id="32" name="Obrázek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19849" y="1054894"/>
              <a:ext cx="1224000" cy="1622866"/>
            </a:xfrm>
            <a:prstGeom prst="rect">
              <a:avLst/>
            </a:prstGeom>
          </p:spPr>
        </p:pic>
      </p:grpSp>
      <p:graphicFrame>
        <p:nvGraphicFramePr>
          <p:cNvPr id="3" name="Objek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99" imgH="398" progId="TCLayout.ActiveDocument.1">
                  <p:embed/>
                </p:oleObj>
              </mc:Choice>
              <mc:Fallback>
                <p:oleObj name="think-cell Slide" r:id="rId5" imgW="399" imgH="398" progId="TCLayout.ActiveDocument.1">
                  <p:embed/>
                  <p:pic>
                    <p:nvPicPr>
                      <p:cNvPr id="3" name="Objekt 2"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Nadpis 6"/>
          <p:cNvSpPr>
            <a:spLocks noGrp="1"/>
          </p:cNvSpPr>
          <p:nvPr>
            <p:ph type="title" hasCustomPrompt="1"/>
          </p:nvPr>
        </p:nvSpPr>
        <p:spPr>
          <a:xfrm>
            <a:off x="342848" y="1638000"/>
            <a:ext cx="8278865" cy="539887"/>
          </a:xfrm>
        </p:spPr>
        <p:txBody>
          <a:bodyPr anchor="t" anchorCtr="0">
            <a:noAutofit/>
          </a:bodyPr>
          <a:lstStyle>
            <a:lvl1pPr>
              <a:lnSpc>
                <a:spcPts val="4400"/>
              </a:lnSpc>
              <a:defRPr sz="3600" cap="all" baseline="0">
                <a:solidFill>
                  <a:schemeClr val="tx1"/>
                </a:solidFill>
                <a:latin typeface="SKODA Next" panose="020B0504020603020204" pitchFamily="34" charset="0"/>
              </a:defRPr>
            </a:lvl1pPr>
          </a:lstStyle>
          <a:p>
            <a:r>
              <a:rPr lang="cs-CZ" noProof="0" dirty="0"/>
              <a:t>Název prezentace</a:t>
            </a:r>
          </a:p>
        </p:txBody>
      </p:sp>
      <p:sp>
        <p:nvSpPr>
          <p:cNvPr id="15" name="Zástupný symbol pro text 14"/>
          <p:cNvSpPr>
            <a:spLocks noGrp="1"/>
          </p:cNvSpPr>
          <p:nvPr>
            <p:ph type="body" sz="quarter" idx="13" hasCustomPrompt="1"/>
          </p:nvPr>
        </p:nvSpPr>
        <p:spPr>
          <a:xfrm>
            <a:off x="341949" y="5506843"/>
            <a:ext cx="5183231" cy="323932"/>
          </a:xfrm>
        </p:spPr>
        <p:txBody>
          <a:bodyPr vert="horz" lIns="0" tIns="0" rIns="0" bIns="0" rtlCol="0" anchor="b" anchorCtr="0">
            <a:noAutofit/>
          </a:bodyPr>
          <a:lstStyle>
            <a:lvl1pPr marL="180000" indent="-180000">
              <a:buNone/>
              <a:defRPr lang="cs-CZ" sz="2000" noProof="0" dirty="0">
                <a:effectLst>
                  <a:glow rad="254000">
                    <a:schemeClr val="bg1">
                      <a:alpha val="34000"/>
                    </a:schemeClr>
                  </a:glow>
                </a:effectLst>
              </a:defRPr>
            </a:lvl1pPr>
          </a:lstStyle>
          <a:p>
            <a:pPr marL="0" lvl="0" indent="0">
              <a:lnSpc>
                <a:spcPts val="2400"/>
              </a:lnSpc>
            </a:pPr>
            <a:r>
              <a:rPr lang="cs-CZ" noProof="0" dirty="0"/>
              <a:t>Jméno</a:t>
            </a:r>
          </a:p>
        </p:txBody>
      </p:sp>
      <p:sp>
        <p:nvSpPr>
          <p:cNvPr id="17" name="Zástupný symbol pro text 16"/>
          <p:cNvSpPr>
            <a:spLocks noGrp="1"/>
          </p:cNvSpPr>
          <p:nvPr>
            <p:ph type="body" sz="quarter" idx="14" hasCustomPrompt="1"/>
          </p:nvPr>
        </p:nvSpPr>
        <p:spPr>
          <a:xfrm>
            <a:off x="341948" y="6298677"/>
            <a:ext cx="5183231" cy="323932"/>
          </a:xfrm>
        </p:spPr>
        <p:txBody>
          <a:bodyPr vert="horz" lIns="0" tIns="0" rIns="0" bIns="0" rtlCol="0" anchor="b" anchorCtr="0">
            <a:noAutofit/>
          </a:bodyPr>
          <a:lstStyle>
            <a:lvl1pPr marL="180000" indent="-180000">
              <a:buNone/>
              <a:defRPr lang="cs-CZ" sz="2000" noProof="0" dirty="0">
                <a:effectLst>
                  <a:glow rad="254000">
                    <a:schemeClr val="bg1">
                      <a:alpha val="34000"/>
                    </a:schemeClr>
                  </a:glow>
                </a:effectLst>
              </a:defRPr>
            </a:lvl1pPr>
          </a:lstStyle>
          <a:p>
            <a:pPr marL="0" lvl="0" indent="0">
              <a:lnSpc>
                <a:spcPts val="2400"/>
              </a:lnSpc>
            </a:pPr>
            <a:r>
              <a:rPr lang="cs-CZ" sz="2000" noProof="0" dirty="0"/>
              <a:t>XX.XX.2017</a:t>
            </a:r>
            <a:endParaRPr lang="cs-CZ" noProof="0" dirty="0"/>
          </a:p>
        </p:txBody>
      </p:sp>
      <p:sp>
        <p:nvSpPr>
          <p:cNvPr id="19" name="Zástupný symbol pro text 18"/>
          <p:cNvSpPr>
            <a:spLocks noGrp="1"/>
          </p:cNvSpPr>
          <p:nvPr>
            <p:ph type="body" sz="quarter" idx="15" hasCustomPrompt="1"/>
          </p:nvPr>
        </p:nvSpPr>
        <p:spPr>
          <a:xfrm>
            <a:off x="342849" y="2358000"/>
            <a:ext cx="6550641" cy="719849"/>
          </a:xfrm>
        </p:spPr>
        <p:txBody>
          <a:bodyPr>
            <a:noAutofit/>
          </a:bodyPr>
          <a:lstStyle>
            <a:lvl1pPr marL="0" indent="0">
              <a:lnSpc>
                <a:spcPts val="2400"/>
              </a:lnSpc>
              <a:buFont typeface="Arial" panose="020B0604020202020204" pitchFamily="34" charset="0"/>
              <a:buNone/>
              <a:defRPr sz="2000">
                <a:solidFill>
                  <a:schemeClr val="tx1"/>
                </a:solidFill>
                <a:latin typeface="SKODA Next" panose="020B0504020603020204" pitchFamily="34" charset="0"/>
              </a:defRPr>
            </a:lvl1pPr>
          </a:lstStyle>
          <a:p>
            <a:pPr lvl="0"/>
            <a:r>
              <a:rPr lang="cs-CZ" noProof="0" dirty="0"/>
              <a:t>Dodatečné informace</a:t>
            </a:r>
          </a:p>
        </p:txBody>
      </p:sp>
      <p:sp>
        <p:nvSpPr>
          <p:cNvPr id="21" name="Zástupný symbol pro text 20"/>
          <p:cNvSpPr>
            <a:spLocks noGrp="1"/>
          </p:cNvSpPr>
          <p:nvPr>
            <p:ph type="body" sz="quarter" idx="16" hasCustomPrompt="1"/>
          </p:nvPr>
        </p:nvSpPr>
        <p:spPr>
          <a:xfrm>
            <a:off x="341949" y="5902760"/>
            <a:ext cx="5183231" cy="323932"/>
          </a:xfrm>
        </p:spPr>
        <p:txBody>
          <a:bodyPr vert="horz" lIns="0" tIns="0" rIns="0" bIns="0" rtlCol="0" anchor="b" anchorCtr="0">
            <a:noAutofit/>
          </a:bodyPr>
          <a:lstStyle>
            <a:lvl1pPr marL="180000" indent="-180000">
              <a:buNone/>
              <a:defRPr lang="cs-CZ" sz="2000" noProof="0" dirty="0">
                <a:effectLst>
                  <a:glow rad="254000">
                    <a:schemeClr val="bg1">
                      <a:alpha val="34000"/>
                    </a:schemeClr>
                  </a:glow>
                </a:effectLst>
              </a:defRPr>
            </a:lvl1pPr>
          </a:lstStyle>
          <a:p>
            <a:pPr marL="0" lvl="0" indent="0">
              <a:lnSpc>
                <a:spcPts val="2400"/>
              </a:lnSpc>
            </a:pPr>
            <a:r>
              <a:rPr lang="cs-CZ" noProof="0" dirty="0"/>
              <a:t>Oddělení</a:t>
            </a:r>
          </a:p>
        </p:txBody>
      </p:sp>
      <p:sp>
        <p:nvSpPr>
          <p:cNvPr id="16" name="Zástupný symbol pro číslo snímku 5"/>
          <p:cNvSpPr>
            <a:spLocks noGrp="1"/>
          </p:cNvSpPr>
          <p:nvPr>
            <p:ph type="sldNum" sz="quarter" idx="10"/>
          </p:nvPr>
        </p:nvSpPr>
        <p:spPr>
          <a:xfrm>
            <a:off x="342849" y="7162496"/>
            <a:ext cx="269960" cy="179962"/>
          </a:xfrm>
        </p:spPr>
        <p:txBody>
          <a:bodyPr/>
          <a:lstStyle>
            <a:lvl1pPr>
              <a:defRPr>
                <a:noFill/>
                <a:latin typeface="SKODA Next" panose="020B0504020603020204" pitchFamily="34" charset="0"/>
              </a:defRPr>
            </a:lvl1pPr>
          </a:lstStyle>
          <a:p>
            <a:fld id="{1E956721-BB38-4972-8ACD-5A2C9377E3B4}" type="slidenum">
              <a:rPr lang="cs-CZ" smtClean="0"/>
              <a:pPr/>
              <a:t>‹#›</a:t>
            </a:fld>
            <a:endParaRPr lang="cs-CZ" dirty="0"/>
          </a:p>
        </p:txBody>
      </p:sp>
      <p:sp>
        <p:nvSpPr>
          <p:cNvPr id="22" name="Zástupný symbol pro zápatí 6"/>
          <p:cNvSpPr>
            <a:spLocks noGrp="1"/>
          </p:cNvSpPr>
          <p:nvPr>
            <p:ph type="ftr" sz="quarter" idx="11"/>
          </p:nvPr>
        </p:nvSpPr>
        <p:spPr>
          <a:xfrm>
            <a:off x="719894" y="7162496"/>
            <a:ext cx="6173596" cy="179962"/>
          </a:xfrm>
        </p:spPr>
        <p:txBody>
          <a:bodyPr/>
          <a:lstStyle>
            <a:lvl1pPr>
              <a:defRPr>
                <a:noFill/>
                <a:latin typeface="SKODA Next" panose="020B0504020603020204" pitchFamily="34" charset="0"/>
              </a:defRPr>
            </a:lvl1pPr>
          </a:lstStyle>
          <a:p>
            <a:endParaRPr lang="cs-CZ" dirty="0"/>
          </a:p>
        </p:txBody>
      </p:sp>
      <p:sp>
        <p:nvSpPr>
          <p:cNvPr id="18" name="TextovéPole 17"/>
          <p:cNvSpPr txBox="1"/>
          <p:nvPr userDrawn="1"/>
        </p:nvSpPr>
        <p:spPr>
          <a:xfrm>
            <a:off x="9720000" y="7358802"/>
            <a:ext cx="720000" cy="108000"/>
          </a:xfrm>
          <a:prstGeom prst="rect">
            <a:avLst/>
          </a:prstGeom>
          <a:noFill/>
        </p:spPr>
        <p:txBody>
          <a:bodyPr wrap="square" lIns="0" tIns="0" rIns="0" bIns="0" rtlCol="0" anchor="b" anchorCtr="0">
            <a:normAutofit/>
          </a:bodyPr>
          <a:lstStyle/>
          <a:p>
            <a:pPr algn="r"/>
            <a:r>
              <a:rPr lang="en-GB" sz="700" b="1" noProof="0" dirty="0">
                <a:effectLst>
                  <a:glow rad="254000">
                    <a:schemeClr val="bg1">
                      <a:alpha val="34000"/>
                    </a:schemeClr>
                  </a:glow>
                </a:effectLst>
                <a:latin typeface="SKODA Next" panose="020B0504020603020204" pitchFamily="34" charset="0"/>
                <a:cs typeface="Arial" panose="020B0604020202020204" pitchFamily="34" charset="0"/>
              </a:rPr>
              <a:t>CONFIDENTIAL</a:t>
            </a:r>
          </a:p>
        </p:txBody>
      </p:sp>
    </p:spTree>
    <p:extLst>
      <p:ext uri="{BB962C8B-B14F-4D97-AF65-F5344CB8AC3E}">
        <p14:creationId xmlns:p14="http://schemas.microsoft.com/office/powerpoint/2010/main" val="40670627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Ligh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20" name="Skupina 19"/>
          <p:cNvGrpSpPr/>
          <p:nvPr userDrawn="1"/>
        </p:nvGrpSpPr>
        <p:grpSpPr>
          <a:xfrm>
            <a:off x="-1" y="-1905"/>
            <a:ext cx="10691994" cy="5870435"/>
            <a:chOff x="-1" y="-1905"/>
            <a:chExt cx="10691994" cy="5870435"/>
          </a:xfrm>
        </p:grpSpPr>
        <p:sp>
          <p:nvSpPr>
            <p:cNvPr id="28" name="Volný tvar 27"/>
            <p:cNvSpPr/>
            <p:nvPr userDrawn="1"/>
          </p:nvSpPr>
          <p:spPr>
            <a:xfrm>
              <a:off x="8671948" y="0"/>
              <a:ext cx="2019872" cy="3165168"/>
            </a:xfrm>
            <a:custGeom>
              <a:avLst/>
              <a:gdLst>
                <a:gd name="connsiteX0" fmla="*/ 1600200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5886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7782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9678 w 1609678"/>
                <a:gd name="connsiteY0" fmla="*/ 0 h 2472267"/>
                <a:gd name="connsiteX1" fmla="*/ 711200 w 1609678"/>
                <a:gd name="connsiteY1" fmla="*/ 0 h 2472267"/>
                <a:gd name="connsiteX2" fmla="*/ 0 w 1609678"/>
                <a:gd name="connsiteY2" fmla="*/ 1549400 h 2472267"/>
                <a:gd name="connsiteX3" fmla="*/ 465666 w 1609678"/>
                <a:gd name="connsiteY3" fmla="*/ 2472267 h 2472267"/>
                <a:gd name="connsiteX4" fmla="*/ 1608666 w 1609678"/>
                <a:gd name="connsiteY4" fmla="*/ 2472267 h 2472267"/>
                <a:gd name="connsiteX0" fmla="*/ 1609678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4 w 1611574"/>
                <a:gd name="connsiteY0" fmla="*/ 0 h 2472267"/>
                <a:gd name="connsiteX1" fmla="*/ 711200 w 1611574"/>
                <a:gd name="connsiteY1" fmla="*/ 0 h 2472267"/>
                <a:gd name="connsiteX2" fmla="*/ 0 w 1611574"/>
                <a:gd name="connsiteY2" fmla="*/ 1549400 h 2472267"/>
                <a:gd name="connsiteX3" fmla="*/ 465666 w 1611574"/>
                <a:gd name="connsiteY3" fmla="*/ 2472267 h 2472267"/>
                <a:gd name="connsiteX4" fmla="*/ 1610561 w 1611574"/>
                <a:gd name="connsiteY4" fmla="*/ 2472267 h 2472267"/>
                <a:gd name="connsiteX0" fmla="*/ 1609679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5 w 1611575"/>
                <a:gd name="connsiteY0" fmla="*/ 0 h 2472267"/>
                <a:gd name="connsiteX1" fmla="*/ 711200 w 1611575"/>
                <a:gd name="connsiteY1" fmla="*/ 0 h 2472267"/>
                <a:gd name="connsiteX2" fmla="*/ 0 w 1611575"/>
                <a:gd name="connsiteY2" fmla="*/ 1549400 h 2472267"/>
                <a:gd name="connsiteX3" fmla="*/ 465666 w 1611575"/>
                <a:gd name="connsiteY3" fmla="*/ 2472267 h 2472267"/>
                <a:gd name="connsiteX4" fmla="*/ 1610561 w 1611575"/>
                <a:gd name="connsiteY4" fmla="*/ 2472267 h 2472267"/>
                <a:gd name="connsiteX0" fmla="*/ 1609680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3995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9681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7 w 1611577"/>
                <a:gd name="connsiteY0" fmla="*/ 0 h 2472267"/>
                <a:gd name="connsiteX1" fmla="*/ 711200 w 1611577"/>
                <a:gd name="connsiteY1" fmla="*/ 0 h 2472267"/>
                <a:gd name="connsiteX2" fmla="*/ 0 w 1611577"/>
                <a:gd name="connsiteY2" fmla="*/ 1549400 h 2472267"/>
                <a:gd name="connsiteX3" fmla="*/ 465666 w 1611577"/>
                <a:gd name="connsiteY3" fmla="*/ 2472267 h 2472267"/>
                <a:gd name="connsiteX4" fmla="*/ 1610561 w 1611577"/>
                <a:gd name="connsiteY4" fmla="*/ 2472267 h 2472267"/>
                <a:gd name="connsiteX0" fmla="*/ 1609682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7787 w 1608666"/>
                <a:gd name="connsiteY0" fmla="*/ 0 h 2472267"/>
                <a:gd name="connsiteX1" fmla="*/ 709305 w 1608666"/>
                <a:gd name="connsiteY1" fmla="*/ 0 h 2472267"/>
                <a:gd name="connsiteX2" fmla="*/ 0 w 1608666"/>
                <a:gd name="connsiteY2" fmla="*/ 1549400 h 2472267"/>
                <a:gd name="connsiteX3" fmla="*/ 463771 w 1608666"/>
                <a:gd name="connsiteY3" fmla="*/ 2472267 h 2472267"/>
                <a:gd name="connsiteX4" fmla="*/ 1608666 w 1608666"/>
                <a:gd name="connsiteY4" fmla="*/ 2472267 h 2472267"/>
                <a:gd name="connsiteX0" fmla="*/ 1603996 w 1604875"/>
                <a:gd name="connsiteY0" fmla="*/ 0 h 2472267"/>
                <a:gd name="connsiteX1" fmla="*/ 705514 w 1604875"/>
                <a:gd name="connsiteY1" fmla="*/ 0 h 2472267"/>
                <a:gd name="connsiteX2" fmla="*/ 0 w 1604875"/>
                <a:gd name="connsiteY2" fmla="*/ 1549400 h 2472267"/>
                <a:gd name="connsiteX3" fmla="*/ 459980 w 1604875"/>
                <a:gd name="connsiteY3" fmla="*/ 2472267 h 2472267"/>
                <a:gd name="connsiteX4" fmla="*/ 1604875 w 1604875"/>
                <a:gd name="connsiteY4" fmla="*/ 2472267 h 2472267"/>
                <a:gd name="connsiteX0" fmla="*/ 1603996 w 1604875"/>
                <a:gd name="connsiteY0" fmla="*/ 1905 h 2474172"/>
                <a:gd name="connsiteX1" fmla="*/ 457229 w 1604875"/>
                <a:gd name="connsiteY1" fmla="*/ 0 h 2474172"/>
                <a:gd name="connsiteX2" fmla="*/ 0 w 1604875"/>
                <a:gd name="connsiteY2" fmla="*/ 1551305 h 2474172"/>
                <a:gd name="connsiteX3" fmla="*/ 459980 w 1604875"/>
                <a:gd name="connsiteY3" fmla="*/ 2474172 h 2474172"/>
                <a:gd name="connsiteX4" fmla="*/ 1604875 w 1604875"/>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5576 w 2010471"/>
                <a:gd name="connsiteY3" fmla="*/ 2474172 h 2474172"/>
                <a:gd name="connsiteX4" fmla="*/ 2010471 w 2010471"/>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7472 w 2010471"/>
                <a:gd name="connsiteY3" fmla="*/ 2474172 h 2474172"/>
                <a:gd name="connsiteX4" fmla="*/ 2010471 w 2010471"/>
                <a:gd name="connsiteY4" fmla="*/ 2474172 h 2474172"/>
                <a:gd name="connsiteX0" fmla="*/ 2009592 w 2010471"/>
                <a:gd name="connsiteY0" fmla="*/ 1905 h 3163927"/>
                <a:gd name="connsiteX1" fmla="*/ 862825 w 2010471"/>
                <a:gd name="connsiteY1" fmla="*/ 0 h 3163927"/>
                <a:gd name="connsiteX2" fmla="*/ 0 w 2010471"/>
                <a:gd name="connsiteY2" fmla="*/ 1898088 h 3163927"/>
                <a:gd name="connsiteX3" fmla="*/ 867472 w 2010471"/>
                <a:gd name="connsiteY3" fmla="*/ 2474172 h 3163927"/>
                <a:gd name="connsiteX4" fmla="*/ 2010471 w 2010471"/>
                <a:gd name="connsiteY4" fmla="*/ 3163927 h 3163927"/>
                <a:gd name="connsiteX0" fmla="*/ 2009592 w 2010471"/>
                <a:gd name="connsiteY0" fmla="*/ 1905 h 3163927"/>
                <a:gd name="connsiteX1" fmla="*/ 862825 w 2010471"/>
                <a:gd name="connsiteY1" fmla="*/ 0 h 3163927"/>
                <a:gd name="connsiteX2" fmla="*/ 0 w 2010471"/>
                <a:gd name="connsiteY2" fmla="*/ 1898088 h 3163927"/>
                <a:gd name="connsiteX3" fmla="*/ 640035 w 2010471"/>
                <a:gd name="connsiteY3" fmla="*/ 3163927 h 3163927"/>
                <a:gd name="connsiteX4" fmla="*/ 2010471 w 2010471"/>
                <a:gd name="connsiteY4" fmla="*/ 3163927 h 3163927"/>
                <a:gd name="connsiteX0" fmla="*/ 2009592 w 2010471"/>
                <a:gd name="connsiteY0" fmla="*/ 1905 h 3167738"/>
                <a:gd name="connsiteX1" fmla="*/ 862825 w 2010471"/>
                <a:gd name="connsiteY1" fmla="*/ 0 h 3167738"/>
                <a:gd name="connsiteX2" fmla="*/ 0 w 2010471"/>
                <a:gd name="connsiteY2" fmla="*/ 1898088 h 3167738"/>
                <a:gd name="connsiteX3" fmla="*/ 640035 w 2010471"/>
                <a:gd name="connsiteY3" fmla="*/ 3163927 h 3167738"/>
                <a:gd name="connsiteX4" fmla="*/ 2010471 w 2010471"/>
                <a:gd name="connsiteY4" fmla="*/ 3167738 h 3167738"/>
                <a:gd name="connsiteX0" fmla="*/ 2009592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3383 w 2013383"/>
                <a:gd name="connsiteY0" fmla="*/ 1905 h 3167738"/>
                <a:gd name="connsiteX1" fmla="*/ 862825 w 2013383"/>
                <a:gd name="connsiteY1" fmla="*/ 0 h 3167738"/>
                <a:gd name="connsiteX2" fmla="*/ 0 w 2013383"/>
                <a:gd name="connsiteY2" fmla="*/ 1898088 h 3167738"/>
                <a:gd name="connsiteX3" fmla="*/ 641930 w 2013383"/>
                <a:gd name="connsiteY3" fmla="*/ 3167738 h 3167738"/>
                <a:gd name="connsiteX4" fmla="*/ 2010471 w 2013383"/>
                <a:gd name="connsiteY4" fmla="*/ 3167738 h 3167738"/>
                <a:gd name="connsiteX0" fmla="*/ 2011488 w 2011488"/>
                <a:gd name="connsiteY0" fmla="*/ 1905 h 3167738"/>
                <a:gd name="connsiteX1" fmla="*/ 862825 w 2011488"/>
                <a:gd name="connsiteY1" fmla="*/ 0 h 3167738"/>
                <a:gd name="connsiteX2" fmla="*/ 0 w 2011488"/>
                <a:gd name="connsiteY2" fmla="*/ 1898088 h 3167738"/>
                <a:gd name="connsiteX3" fmla="*/ 641930 w 2011488"/>
                <a:gd name="connsiteY3" fmla="*/ 3167738 h 3167738"/>
                <a:gd name="connsiteX4" fmla="*/ 2010471 w 2011488"/>
                <a:gd name="connsiteY4" fmla="*/ 3167738 h 3167738"/>
                <a:gd name="connsiteX0" fmla="*/ 2009593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1489 w 2011489"/>
                <a:gd name="connsiteY0" fmla="*/ 1905 h 3167738"/>
                <a:gd name="connsiteX1" fmla="*/ 862825 w 2011489"/>
                <a:gd name="connsiteY1" fmla="*/ 0 h 3167738"/>
                <a:gd name="connsiteX2" fmla="*/ 0 w 2011489"/>
                <a:gd name="connsiteY2" fmla="*/ 1898088 h 3167738"/>
                <a:gd name="connsiteX3" fmla="*/ 641930 w 2011489"/>
                <a:gd name="connsiteY3" fmla="*/ 3167738 h 3167738"/>
                <a:gd name="connsiteX4" fmla="*/ 2010471 w 2011489"/>
                <a:gd name="connsiteY4" fmla="*/ 3167738 h 3167738"/>
                <a:gd name="connsiteX0" fmla="*/ 2009594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09594 w 2009594"/>
                <a:gd name="connsiteY0" fmla="*/ 1905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9643"/>
                <a:gd name="connsiteX1" fmla="*/ 862825 w 2009594"/>
                <a:gd name="connsiteY1" fmla="*/ 1905 h 3169643"/>
                <a:gd name="connsiteX2" fmla="*/ 0 w 2009594"/>
                <a:gd name="connsiteY2" fmla="*/ 1899993 h 3169643"/>
                <a:gd name="connsiteX3" fmla="*/ 641930 w 2009594"/>
                <a:gd name="connsiteY3" fmla="*/ 3169643 h 3169643"/>
                <a:gd name="connsiteX4" fmla="*/ 2008576 w 2009594"/>
                <a:gd name="connsiteY4" fmla="*/ 3169643 h 3169643"/>
                <a:gd name="connsiteX0" fmla="*/ 2009594 w 2009594"/>
                <a:gd name="connsiteY0" fmla="*/ 0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1905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5833"/>
                <a:gd name="connsiteX1" fmla="*/ 860930 w 2009594"/>
                <a:gd name="connsiteY1" fmla="*/ 0 h 3165833"/>
                <a:gd name="connsiteX2" fmla="*/ 0 w 2009594"/>
                <a:gd name="connsiteY2" fmla="*/ 1896183 h 3165833"/>
                <a:gd name="connsiteX3" fmla="*/ 641930 w 2009594"/>
                <a:gd name="connsiteY3" fmla="*/ 3165833 h 3165833"/>
                <a:gd name="connsiteX4" fmla="*/ 2008576 w 2009594"/>
                <a:gd name="connsiteY4" fmla="*/ 3165833 h 316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594" h="3165833">
                  <a:moveTo>
                    <a:pt x="2009594" y="0"/>
                  </a:moveTo>
                  <a:lnTo>
                    <a:pt x="860930" y="0"/>
                  </a:lnTo>
                  <a:lnTo>
                    <a:pt x="0" y="1896183"/>
                  </a:lnTo>
                  <a:lnTo>
                    <a:pt x="641930" y="3165833"/>
                  </a:lnTo>
                  <a:lnTo>
                    <a:pt x="2008576" y="3165833"/>
                  </a:lnTo>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29" name="Volný tvar 28"/>
            <p:cNvSpPr/>
            <p:nvPr userDrawn="1"/>
          </p:nvSpPr>
          <p:spPr>
            <a:xfrm>
              <a:off x="9316886" y="3164324"/>
              <a:ext cx="1375107" cy="2704206"/>
            </a:xfrm>
            <a:custGeom>
              <a:avLst/>
              <a:gdLst>
                <a:gd name="connsiteX0" fmla="*/ 1134533 w 1134533"/>
                <a:gd name="connsiteY0" fmla="*/ 0 h 2243667"/>
                <a:gd name="connsiteX1" fmla="*/ 1134533 w 1134533"/>
                <a:gd name="connsiteY1" fmla="*/ 2243667 h 2243667"/>
                <a:gd name="connsiteX2" fmla="*/ 0 w 1134533"/>
                <a:gd name="connsiteY2" fmla="*/ 0 h 2243667"/>
                <a:gd name="connsiteX0" fmla="*/ 1134533 w 1138298"/>
                <a:gd name="connsiteY0" fmla="*/ 0 h 3398339"/>
                <a:gd name="connsiteX1" fmla="*/ 1138298 w 1138298"/>
                <a:gd name="connsiteY1" fmla="*/ 3398339 h 3398339"/>
                <a:gd name="connsiteX2" fmla="*/ 0 w 1138298"/>
                <a:gd name="connsiteY2" fmla="*/ 0 h 3398339"/>
                <a:gd name="connsiteX0" fmla="*/ 1134533 w 1138298"/>
                <a:gd name="connsiteY0" fmla="*/ 693566 h 3398339"/>
                <a:gd name="connsiteX1" fmla="*/ 1138298 w 1138298"/>
                <a:gd name="connsiteY1" fmla="*/ 3398339 h 3398339"/>
                <a:gd name="connsiteX2" fmla="*/ 0 w 1138298"/>
                <a:gd name="connsiteY2" fmla="*/ 0 h 3398339"/>
                <a:gd name="connsiteX0" fmla="*/ 1356642 w 1360407"/>
                <a:gd name="connsiteY0" fmla="*/ 0 h 2704773"/>
                <a:gd name="connsiteX1" fmla="*/ 1360407 w 1360407"/>
                <a:gd name="connsiteY1" fmla="*/ 2704773 h 2704773"/>
                <a:gd name="connsiteX2" fmla="*/ 0 w 1360407"/>
                <a:gd name="connsiteY2" fmla="*/ 0 h 2704773"/>
                <a:gd name="connsiteX0" fmla="*/ 1356642 w 1358525"/>
                <a:gd name="connsiteY0" fmla="*/ 0 h 2704773"/>
                <a:gd name="connsiteX1" fmla="*/ 1358525 w 1358525"/>
                <a:gd name="connsiteY1" fmla="*/ 2704773 h 2704773"/>
                <a:gd name="connsiteX2" fmla="*/ 0 w 1358525"/>
                <a:gd name="connsiteY2" fmla="*/ 0 h 2704773"/>
                <a:gd name="connsiteX0" fmla="*/ 1358524 w 1358705"/>
                <a:gd name="connsiteY0" fmla="*/ 0 h 2704773"/>
                <a:gd name="connsiteX1" fmla="*/ 1358525 w 1358705"/>
                <a:gd name="connsiteY1" fmla="*/ 2704773 h 2704773"/>
                <a:gd name="connsiteX2" fmla="*/ 0 w 1358705"/>
                <a:gd name="connsiteY2" fmla="*/ 0 h 2704773"/>
                <a:gd name="connsiteX0" fmla="*/ 1360406 w 1360587"/>
                <a:gd name="connsiteY0" fmla="*/ 0 h 2704773"/>
                <a:gd name="connsiteX1" fmla="*/ 1360407 w 1360587"/>
                <a:gd name="connsiteY1" fmla="*/ 2704773 h 2704773"/>
                <a:gd name="connsiteX2" fmla="*/ 0 w 1360587"/>
                <a:gd name="connsiteY2" fmla="*/ 0 h 2704773"/>
                <a:gd name="connsiteX0" fmla="*/ 1358524 w 1360407"/>
                <a:gd name="connsiteY0" fmla="*/ 0 h 2704773"/>
                <a:gd name="connsiteX1" fmla="*/ 1360407 w 1360407"/>
                <a:gd name="connsiteY1" fmla="*/ 2704773 h 2704773"/>
                <a:gd name="connsiteX2" fmla="*/ 0 w 1360407"/>
                <a:gd name="connsiteY2" fmla="*/ 0 h 2704773"/>
                <a:gd name="connsiteX0" fmla="*/ 1358524 w 1358705"/>
                <a:gd name="connsiteY0" fmla="*/ 0 h 2704773"/>
                <a:gd name="connsiteX1" fmla="*/ 1358525 w 1358705"/>
                <a:gd name="connsiteY1" fmla="*/ 2704773 h 2704773"/>
                <a:gd name="connsiteX2" fmla="*/ 0 w 1358705"/>
                <a:gd name="connsiteY2" fmla="*/ 0 h 2704773"/>
              </a:gdLst>
              <a:ahLst/>
              <a:cxnLst>
                <a:cxn ang="0">
                  <a:pos x="connsiteX0" y="connsiteY0"/>
                </a:cxn>
                <a:cxn ang="0">
                  <a:pos x="connsiteX1" y="connsiteY1"/>
                </a:cxn>
                <a:cxn ang="0">
                  <a:pos x="connsiteX2" y="connsiteY2"/>
                </a:cxn>
              </a:cxnLst>
              <a:rect l="l" t="t" r="r" b="b"/>
              <a:pathLst>
                <a:path w="1358705" h="2704773">
                  <a:moveTo>
                    <a:pt x="1358524" y="0"/>
                  </a:moveTo>
                  <a:cubicBezTo>
                    <a:pt x="1359152" y="901591"/>
                    <a:pt x="1357897" y="1803182"/>
                    <a:pt x="1358525" y="2704773"/>
                  </a:cubicBezTo>
                  <a:cubicBezTo>
                    <a:pt x="980347" y="1956884"/>
                    <a:pt x="378178" y="747889"/>
                    <a:pt x="0" y="0"/>
                  </a:cubicBezTo>
                </a:path>
              </a:pathLst>
            </a:custGeom>
            <a:gradFill>
              <a:gsLst>
                <a:gs pos="0">
                  <a:schemeClr val="bg1"/>
                </a:gs>
                <a:gs pos="100000">
                  <a:schemeClr val="bg1">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0" name="Volný tvar 29"/>
            <p:cNvSpPr/>
            <p:nvPr userDrawn="1"/>
          </p:nvSpPr>
          <p:spPr>
            <a:xfrm>
              <a:off x="2381428" y="0"/>
              <a:ext cx="7155030" cy="1892480"/>
            </a:xfrm>
            <a:custGeom>
              <a:avLst/>
              <a:gdLst>
                <a:gd name="connsiteX0" fmla="*/ 7442200 w 8144934"/>
                <a:gd name="connsiteY0" fmla="*/ 1540934 h 1540934"/>
                <a:gd name="connsiteX1" fmla="*/ 8144934 w 8144934"/>
                <a:gd name="connsiteY1" fmla="*/ 0 h 1540934"/>
                <a:gd name="connsiteX2" fmla="*/ 0 w 8144934"/>
                <a:gd name="connsiteY2" fmla="*/ 0 h 1540934"/>
                <a:gd name="connsiteX0" fmla="*/ 7438390 w 8144934"/>
                <a:gd name="connsiteY0" fmla="*/ 1540934 h 1540934"/>
                <a:gd name="connsiteX1" fmla="*/ 8144934 w 8144934"/>
                <a:gd name="connsiteY1" fmla="*/ 0 h 1540934"/>
                <a:gd name="connsiteX2" fmla="*/ 0 w 8144934"/>
                <a:gd name="connsiteY2" fmla="*/ 0 h 1540934"/>
                <a:gd name="connsiteX0" fmla="*/ 7032565 w 8144934"/>
                <a:gd name="connsiteY0" fmla="*/ 1882340 h 1882340"/>
                <a:gd name="connsiteX1" fmla="*/ 8144934 w 8144934"/>
                <a:gd name="connsiteY1" fmla="*/ 0 h 1882340"/>
                <a:gd name="connsiteX2" fmla="*/ 0 w 8144934"/>
                <a:gd name="connsiteY2" fmla="*/ 0 h 1882340"/>
                <a:gd name="connsiteX0" fmla="*/ 7030660 w 8144934"/>
                <a:gd name="connsiteY0" fmla="*/ 1882340 h 1882340"/>
                <a:gd name="connsiteX1" fmla="*/ 8144934 w 8144934"/>
                <a:gd name="connsiteY1" fmla="*/ 0 h 1882340"/>
                <a:gd name="connsiteX2" fmla="*/ 0 w 8144934"/>
                <a:gd name="connsiteY2" fmla="*/ 0 h 1882340"/>
                <a:gd name="connsiteX0" fmla="*/ 7030660 w 7895342"/>
                <a:gd name="connsiteY0" fmla="*/ 1882340 h 1882340"/>
                <a:gd name="connsiteX1" fmla="*/ 7895342 w 7895342"/>
                <a:gd name="connsiteY1" fmla="*/ 0 h 1882340"/>
                <a:gd name="connsiteX2" fmla="*/ 0 w 7895342"/>
                <a:gd name="connsiteY2" fmla="*/ 0 h 1882340"/>
                <a:gd name="connsiteX0" fmla="*/ 6272357 w 7137039"/>
                <a:gd name="connsiteY0" fmla="*/ 1884237 h 1884237"/>
                <a:gd name="connsiteX1" fmla="*/ 7137039 w 7137039"/>
                <a:gd name="connsiteY1" fmla="*/ 1897 h 1884237"/>
                <a:gd name="connsiteX2" fmla="*/ 0 w 7137039"/>
                <a:gd name="connsiteY2" fmla="*/ 0 h 1884237"/>
                <a:gd name="connsiteX0" fmla="*/ 6276168 w 7137039"/>
                <a:gd name="connsiteY0" fmla="*/ 1882340 h 1882340"/>
                <a:gd name="connsiteX1" fmla="*/ 7137039 w 7137039"/>
                <a:gd name="connsiteY1" fmla="*/ 1897 h 1882340"/>
                <a:gd name="connsiteX2" fmla="*/ 0 w 7137039"/>
                <a:gd name="connsiteY2" fmla="*/ 0 h 1882340"/>
                <a:gd name="connsiteX0" fmla="*/ 6276168 w 7137039"/>
                <a:gd name="connsiteY0" fmla="*/ 1886133 h 1886133"/>
                <a:gd name="connsiteX1" fmla="*/ 7137039 w 7137039"/>
                <a:gd name="connsiteY1" fmla="*/ 1897 h 1886133"/>
                <a:gd name="connsiteX2" fmla="*/ 0 w 7137039"/>
                <a:gd name="connsiteY2" fmla="*/ 0 h 1886133"/>
                <a:gd name="connsiteX0" fmla="*/ 6291410 w 7152281"/>
                <a:gd name="connsiteY0" fmla="*/ 1884236 h 1884236"/>
                <a:gd name="connsiteX1" fmla="*/ 7152281 w 7152281"/>
                <a:gd name="connsiteY1" fmla="*/ 0 h 1884236"/>
                <a:gd name="connsiteX2" fmla="*/ 0 w 7152281"/>
                <a:gd name="connsiteY2" fmla="*/ 0 h 1884236"/>
                <a:gd name="connsiteX0" fmla="*/ 6293315 w 7154186"/>
                <a:gd name="connsiteY0" fmla="*/ 1884236 h 1884236"/>
                <a:gd name="connsiteX1" fmla="*/ 7154186 w 7154186"/>
                <a:gd name="connsiteY1" fmla="*/ 0 h 1884236"/>
                <a:gd name="connsiteX2" fmla="*/ 0 w 7154186"/>
                <a:gd name="connsiteY2" fmla="*/ 0 h 1884236"/>
                <a:gd name="connsiteX0" fmla="*/ 6295220 w 7156091"/>
                <a:gd name="connsiteY0" fmla="*/ 1884236 h 1884236"/>
                <a:gd name="connsiteX1" fmla="*/ 7156091 w 7156091"/>
                <a:gd name="connsiteY1" fmla="*/ 0 h 1884236"/>
                <a:gd name="connsiteX2" fmla="*/ 0 w 7156091"/>
                <a:gd name="connsiteY2" fmla="*/ 0 h 1884236"/>
              </a:gdLst>
              <a:ahLst/>
              <a:cxnLst>
                <a:cxn ang="0">
                  <a:pos x="connsiteX0" y="connsiteY0"/>
                </a:cxn>
                <a:cxn ang="0">
                  <a:pos x="connsiteX1" y="connsiteY1"/>
                </a:cxn>
                <a:cxn ang="0">
                  <a:pos x="connsiteX2" y="connsiteY2"/>
                </a:cxn>
              </a:cxnLst>
              <a:rect l="l" t="t" r="r" b="b"/>
              <a:pathLst>
                <a:path w="7156091" h="1884236">
                  <a:moveTo>
                    <a:pt x="6295220" y="1884236"/>
                  </a:moveTo>
                  <a:lnTo>
                    <a:pt x="7156091" y="0"/>
                  </a:lnTo>
                  <a:lnTo>
                    <a:pt x="0" y="0"/>
                  </a:lnTo>
                </a:path>
              </a:pathLst>
            </a:cu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1" name="Volný tvar 30"/>
            <p:cNvSpPr/>
            <p:nvPr userDrawn="1"/>
          </p:nvSpPr>
          <p:spPr>
            <a:xfrm>
              <a:off x="-1" y="-1905"/>
              <a:ext cx="8678465" cy="4438313"/>
            </a:xfrm>
            <a:custGeom>
              <a:avLst/>
              <a:gdLst>
                <a:gd name="connsiteX0" fmla="*/ 9084733 w 9084733"/>
                <a:gd name="connsiteY0" fmla="*/ 1549400 h 3623734"/>
                <a:gd name="connsiteX1" fmla="*/ 1659466 w 9084733"/>
                <a:gd name="connsiteY1" fmla="*/ 0 h 3623734"/>
                <a:gd name="connsiteX2" fmla="*/ 0 w 9084733"/>
                <a:gd name="connsiteY2" fmla="*/ 0 h 3623734"/>
                <a:gd name="connsiteX3" fmla="*/ 0 w 9084733"/>
                <a:gd name="connsiteY3" fmla="*/ 3623734 h 3623734"/>
                <a:gd name="connsiteX0" fmla="*/ 9071408 w 9071408"/>
                <a:gd name="connsiteY0" fmla="*/ 1547495 h 3623734"/>
                <a:gd name="connsiteX1" fmla="*/ 1659466 w 9071408"/>
                <a:gd name="connsiteY1" fmla="*/ 0 h 3623734"/>
                <a:gd name="connsiteX2" fmla="*/ 0 w 9071408"/>
                <a:gd name="connsiteY2" fmla="*/ 0 h 3623734"/>
                <a:gd name="connsiteX3" fmla="*/ 0 w 9071408"/>
                <a:gd name="connsiteY3" fmla="*/ 3623734 h 3623734"/>
                <a:gd name="connsiteX0" fmla="*/ 9073312 w 9073312"/>
                <a:gd name="connsiteY0" fmla="*/ 1547495 h 4437340"/>
                <a:gd name="connsiteX1" fmla="*/ 1661370 w 9073312"/>
                <a:gd name="connsiteY1" fmla="*/ 0 h 4437340"/>
                <a:gd name="connsiteX2" fmla="*/ 1904 w 9073312"/>
                <a:gd name="connsiteY2" fmla="*/ 0 h 4437340"/>
                <a:gd name="connsiteX3" fmla="*/ 0 w 9073312"/>
                <a:gd name="connsiteY3" fmla="*/ 4437340 h 4437340"/>
                <a:gd name="connsiteX0" fmla="*/ 9071408 w 9071408"/>
                <a:gd name="connsiteY0" fmla="*/ 1547495 h 4437340"/>
                <a:gd name="connsiteX1" fmla="*/ 1659466 w 9071408"/>
                <a:gd name="connsiteY1" fmla="*/ 0 h 4437340"/>
                <a:gd name="connsiteX2" fmla="*/ 0 w 9071408"/>
                <a:gd name="connsiteY2" fmla="*/ 0 h 4437340"/>
                <a:gd name="connsiteX3" fmla="*/ 0 w 9071408"/>
                <a:gd name="connsiteY3" fmla="*/ 4437340 h 4437340"/>
                <a:gd name="connsiteX0" fmla="*/ 8667864 w 8667864"/>
                <a:gd name="connsiteY0" fmla="*/ 1894278 h 4437340"/>
                <a:gd name="connsiteX1" fmla="*/ 1659466 w 8667864"/>
                <a:gd name="connsiteY1" fmla="*/ 0 h 4437340"/>
                <a:gd name="connsiteX2" fmla="*/ 0 w 8667864"/>
                <a:gd name="connsiteY2" fmla="*/ 0 h 4437340"/>
                <a:gd name="connsiteX3" fmla="*/ 0 w 8667864"/>
                <a:gd name="connsiteY3" fmla="*/ 4437340 h 4437340"/>
                <a:gd name="connsiteX0" fmla="*/ 8667864 w 8667864"/>
                <a:gd name="connsiteY0" fmla="*/ 1896183 h 4439245"/>
                <a:gd name="connsiteX1" fmla="*/ 2373282 w 8667864"/>
                <a:gd name="connsiteY1" fmla="*/ 0 h 4439245"/>
                <a:gd name="connsiteX2" fmla="*/ 0 w 8667864"/>
                <a:gd name="connsiteY2" fmla="*/ 1905 h 4439245"/>
                <a:gd name="connsiteX3" fmla="*/ 0 w 8667864"/>
                <a:gd name="connsiteY3" fmla="*/ 4439245 h 4439245"/>
                <a:gd name="connsiteX0" fmla="*/ 8671671 w 8671671"/>
                <a:gd name="connsiteY0" fmla="*/ 1894278 h 4439245"/>
                <a:gd name="connsiteX1" fmla="*/ 2373282 w 8671671"/>
                <a:gd name="connsiteY1" fmla="*/ 0 h 4439245"/>
                <a:gd name="connsiteX2" fmla="*/ 0 w 8671671"/>
                <a:gd name="connsiteY2" fmla="*/ 1905 h 4439245"/>
                <a:gd name="connsiteX3" fmla="*/ 0 w 8671671"/>
                <a:gd name="connsiteY3" fmla="*/ 4439245 h 4439245"/>
              </a:gdLst>
              <a:ahLst/>
              <a:cxnLst>
                <a:cxn ang="0">
                  <a:pos x="connsiteX0" y="connsiteY0"/>
                </a:cxn>
                <a:cxn ang="0">
                  <a:pos x="connsiteX1" y="connsiteY1"/>
                </a:cxn>
                <a:cxn ang="0">
                  <a:pos x="connsiteX2" y="connsiteY2"/>
                </a:cxn>
                <a:cxn ang="0">
                  <a:pos x="connsiteX3" y="connsiteY3"/>
                </a:cxn>
              </a:cxnLst>
              <a:rect l="l" t="t" r="r" b="b"/>
              <a:pathLst>
                <a:path w="8671671" h="4439245">
                  <a:moveTo>
                    <a:pt x="8671671" y="1894278"/>
                  </a:moveTo>
                  <a:lnTo>
                    <a:pt x="2373282" y="0"/>
                  </a:lnTo>
                  <a:lnTo>
                    <a:pt x="0" y="1905"/>
                  </a:lnTo>
                  <a:lnTo>
                    <a:pt x="0" y="4439245"/>
                  </a:lnTo>
                </a:path>
              </a:pathLst>
            </a:cu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pic>
          <p:nvPicPr>
            <p:cNvPr id="32" name="Obrázek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19849" y="1054894"/>
              <a:ext cx="1224000" cy="1622866"/>
            </a:xfrm>
            <a:prstGeom prst="rect">
              <a:avLst/>
            </a:prstGeom>
          </p:spPr>
        </p:pic>
      </p:grpSp>
      <p:graphicFrame>
        <p:nvGraphicFramePr>
          <p:cNvPr id="3" name="Objek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99" imgH="398" progId="TCLayout.ActiveDocument.1">
                  <p:embed/>
                </p:oleObj>
              </mc:Choice>
              <mc:Fallback>
                <p:oleObj name="think-cell Slide" r:id="rId5" imgW="399" imgH="398" progId="TCLayout.ActiveDocument.1">
                  <p:embed/>
                  <p:pic>
                    <p:nvPicPr>
                      <p:cNvPr id="3" name="Objekt 2"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Nadpis 6"/>
          <p:cNvSpPr>
            <a:spLocks noGrp="1"/>
          </p:cNvSpPr>
          <p:nvPr>
            <p:ph type="title" hasCustomPrompt="1"/>
          </p:nvPr>
        </p:nvSpPr>
        <p:spPr>
          <a:xfrm>
            <a:off x="342848" y="1638000"/>
            <a:ext cx="8278865" cy="539887"/>
          </a:xfrm>
        </p:spPr>
        <p:txBody>
          <a:bodyPr anchor="t" anchorCtr="0">
            <a:noAutofit/>
          </a:bodyPr>
          <a:lstStyle>
            <a:lvl1pPr>
              <a:lnSpc>
                <a:spcPts val="4400"/>
              </a:lnSpc>
              <a:defRPr sz="3600" cap="all" baseline="0">
                <a:solidFill>
                  <a:schemeClr val="bg1"/>
                </a:solidFill>
                <a:latin typeface="SKODA Next" panose="020B0504020603020204" pitchFamily="34" charset="0"/>
              </a:defRPr>
            </a:lvl1pPr>
          </a:lstStyle>
          <a:p>
            <a:r>
              <a:rPr lang="cs-CZ" noProof="0" dirty="0"/>
              <a:t>Název prezentace</a:t>
            </a:r>
          </a:p>
        </p:txBody>
      </p:sp>
      <p:sp>
        <p:nvSpPr>
          <p:cNvPr id="15" name="Zástupný symbol pro text 14"/>
          <p:cNvSpPr>
            <a:spLocks noGrp="1"/>
          </p:cNvSpPr>
          <p:nvPr>
            <p:ph type="body" sz="quarter" idx="13" hasCustomPrompt="1"/>
          </p:nvPr>
        </p:nvSpPr>
        <p:spPr>
          <a:xfrm>
            <a:off x="341949" y="5506843"/>
            <a:ext cx="5183231" cy="323932"/>
          </a:xfrm>
        </p:spPr>
        <p:txBody>
          <a:bodyPr vert="horz" lIns="0" tIns="0" rIns="0" bIns="0" rtlCol="0" anchor="b" anchorCtr="0">
            <a:noAutofit/>
          </a:bodyPr>
          <a:lstStyle>
            <a:lvl1pPr marL="180000" indent="-180000">
              <a:buNone/>
              <a:defRPr lang="cs-CZ" sz="2000" noProof="0" dirty="0">
                <a:solidFill>
                  <a:schemeClr val="bg1"/>
                </a:solidFill>
                <a:effectLst>
                  <a:glow rad="254000">
                    <a:schemeClr val="tx1">
                      <a:alpha val="34000"/>
                    </a:schemeClr>
                  </a:glow>
                </a:effectLst>
              </a:defRPr>
            </a:lvl1pPr>
          </a:lstStyle>
          <a:p>
            <a:pPr marL="0" lvl="0" indent="0">
              <a:lnSpc>
                <a:spcPts val="2400"/>
              </a:lnSpc>
            </a:pPr>
            <a:r>
              <a:rPr lang="cs-CZ" noProof="0" dirty="0"/>
              <a:t>Jméno</a:t>
            </a:r>
          </a:p>
        </p:txBody>
      </p:sp>
      <p:sp>
        <p:nvSpPr>
          <p:cNvPr id="17" name="Zástupný symbol pro text 16"/>
          <p:cNvSpPr>
            <a:spLocks noGrp="1"/>
          </p:cNvSpPr>
          <p:nvPr>
            <p:ph type="body" sz="quarter" idx="14" hasCustomPrompt="1"/>
          </p:nvPr>
        </p:nvSpPr>
        <p:spPr>
          <a:xfrm>
            <a:off x="341948" y="6298677"/>
            <a:ext cx="5183231" cy="323932"/>
          </a:xfrm>
        </p:spPr>
        <p:txBody>
          <a:bodyPr vert="horz" lIns="0" tIns="0" rIns="0" bIns="0" rtlCol="0" anchor="b" anchorCtr="0">
            <a:noAutofit/>
          </a:bodyPr>
          <a:lstStyle>
            <a:lvl1pPr marL="180000" indent="-180000">
              <a:buNone/>
              <a:defRPr lang="cs-CZ" sz="2000" noProof="0" dirty="0">
                <a:solidFill>
                  <a:schemeClr val="bg1"/>
                </a:solidFill>
                <a:effectLst>
                  <a:glow rad="254000">
                    <a:schemeClr val="tx1">
                      <a:alpha val="34000"/>
                    </a:schemeClr>
                  </a:glow>
                </a:effectLst>
              </a:defRPr>
            </a:lvl1pPr>
          </a:lstStyle>
          <a:p>
            <a:pPr marL="0" lvl="0" indent="0">
              <a:lnSpc>
                <a:spcPts val="2400"/>
              </a:lnSpc>
            </a:pPr>
            <a:r>
              <a:rPr lang="cs-CZ" sz="2000" noProof="0" dirty="0"/>
              <a:t>XX.XX.2017</a:t>
            </a:r>
            <a:endParaRPr lang="cs-CZ" noProof="0" dirty="0"/>
          </a:p>
        </p:txBody>
      </p:sp>
      <p:sp>
        <p:nvSpPr>
          <p:cNvPr id="19" name="Zástupný symbol pro text 18"/>
          <p:cNvSpPr>
            <a:spLocks noGrp="1"/>
          </p:cNvSpPr>
          <p:nvPr>
            <p:ph type="body" sz="quarter" idx="15" hasCustomPrompt="1"/>
          </p:nvPr>
        </p:nvSpPr>
        <p:spPr>
          <a:xfrm>
            <a:off x="342850" y="2358000"/>
            <a:ext cx="6550076" cy="719849"/>
          </a:xfrm>
        </p:spPr>
        <p:txBody>
          <a:bodyPr>
            <a:noAutofit/>
          </a:bodyPr>
          <a:lstStyle>
            <a:lvl1pPr marL="0" indent="0">
              <a:lnSpc>
                <a:spcPts val="2400"/>
              </a:lnSpc>
              <a:buFont typeface="Arial" panose="020B0604020202020204" pitchFamily="34" charset="0"/>
              <a:buNone/>
              <a:defRPr sz="2000">
                <a:solidFill>
                  <a:schemeClr val="bg1"/>
                </a:solidFill>
                <a:latin typeface="SKODA Next" panose="020B0504020603020204" pitchFamily="34" charset="0"/>
              </a:defRPr>
            </a:lvl1pPr>
          </a:lstStyle>
          <a:p>
            <a:pPr lvl="0"/>
            <a:r>
              <a:rPr lang="cs-CZ" noProof="0" dirty="0"/>
              <a:t>Dodatečné informace</a:t>
            </a:r>
          </a:p>
        </p:txBody>
      </p:sp>
      <p:sp>
        <p:nvSpPr>
          <p:cNvPr id="21" name="Zástupný symbol pro text 20"/>
          <p:cNvSpPr>
            <a:spLocks noGrp="1"/>
          </p:cNvSpPr>
          <p:nvPr>
            <p:ph type="body" sz="quarter" idx="16" hasCustomPrompt="1"/>
          </p:nvPr>
        </p:nvSpPr>
        <p:spPr>
          <a:xfrm>
            <a:off x="341949" y="5902760"/>
            <a:ext cx="5183231" cy="323932"/>
          </a:xfrm>
        </p:spPr>
        <p:txBody>
          <a:bodyPr vert="horz" lIns="0" tIns="0" rIns="0" bIns="0" rtlCol="0" anchor="b" anchorCtr="0">
            <a:noAutofit/>
          </a:bodyPr>
          <a:lstStyle>
            <a:lvl1pPr marL="180000" indent="-180000">
              <a:buNone/>
              <a:defRPr lang="cs-CZ" sz="2000" noProof="0" dirty="0">
                <a:solidFill>
                  <a:schemeClr val="bg1"/>
                </a:solidFill>
                <a:effectLst>
                  <a:glow rad="254000">
                    <a:schemeClr val="tx1">
                      <a:alpha val="34000"/>
                    </a:schemeClr>
                  </a:glow>
                </a:effectLst>
              </a:defRPr>
            </a:lvl1pPr>
          </a:lstStyle>
          <a:p>
            <a:pPr marL="0" lvl="0" indent="0">
              <a:lnSpc>
                <a:spcPts val="2400"/>
              </a:lnSpc>
            </a:pPr>
            <a:r>
              <a:rPr lang="cs-CZ" noProof="0" dirty="0"/>
              <a:t>Oddělení</a:t>
            </a:r>
          </a:p>
        </p:txBody>
      </p:sp>
      <p:sp>
        <p:nvSpPr>
          <p:cNvPr id="16" name="Zástupný symbol pro číslo snímku 5"/>
          <p:cNvSpPr>
            <a:spLocks noGrp="1"/>
          </p:cNvSpPr>
          <p:nvPr>
            <p:ph type="sldNum" sz="quarter" idx="10"/>
          </p:nvPr>
        </p:nvSpPr>
        <p:spPr>
          <a:xfrm>
            <a:off x="342849" y="7162496"/>
            <a:ext cx="269960" cy="179962"/>
          </a:xfrm>
        </p:spPr>
        <p:txBody>
          <a:bodyPr/>
          <a:lstStyle>
            <a:lvl1pPr>
              <a:defRPr>
                <a:noFill/>
                <a:latin typeface="SKODA Next" panose="020B0504020603020204" pitchFamily="34" charset="0"/>
              </a:defRPr>
            </a:lvl1pPr>
          </a:lstStyle>
          <a:p>
            <a:fld id="{1E956721-BB38-4972-8ACD-5A2C9377E3B4}" type="slidenum">
              <a:rPr lang="cs-CZ" smtClean="0"/>
              <a:pPr/>
              <a:t>‹#›</a:t>
            </a:fld>
            <a:endParaRPr lang="cs-CZ" dirty="0"/>
          </a:p>
        </p:txBody>
      </p:sp>
      <p:sp>
        <p:nvSpPr>
          <p:cNvPr id="22" name="Zástupný symbol pro zápatí 6"/>
          <p:cNvSpPr>
            <a:spLocks noGrp="1"/>
          </p:cNvSpPr>
          <p:nvPr>
            <p:ph type="ftr" sz="quarter" idx="11"/>
          </p:nvPr>
        </p:nvSpPr>
        <p:spPr>
          <a:xfrm>
            <a:off x="719894" y="7162496"/>
            <a:ext cx="6173596" cy="179962"/>
          </a:xfrm>
        </p:spPr>
        <p:txBody>
          <a:bodyPr/>
          <a:lstStyle>
            <a:lvl1pPr>
              <a:defRPr>
                <a:noFill/>
                <a:latin typeface="SKODA Next" panose="020B0504020603020204" pitchFamily="34" charset="0"/>
              </a:defRPr>
            </a:lvl1pPr>
          </a:lstStyle>
          <a:p>
            <a:endParaRPr lang="cs-CZ" dirty="0"/>
          </a:p>
        </p:txBody>
      </p:sp>
      <p:sp>
        <p:nvSpPr>
          <p:cNvPr id="18" name="TextovéPole 17"/>
          <p:cNvSpPr txBox="1"/>
          <p:nvPr userDrawn="1"/>
        </p:nvSpPr>
        <p:spPr>
          <a:xfrm>
            <a:off x="9720000" y="7358802"/>
            <a:ext cx="720000" cy="108000"/>
          </a:xfrm>
          <a:prstGeom prst="rect">
            <a:avLst/>
          </a:prstGeom>
          <a:noFill/>
        </p:spPr>
        <p:txBody>
          <a:bodyPr wrap="square" lIns="0" tIns="0" rIns="0" bIns="0" rtlCol="0" anchor="b" anchorCtr="0">
            <a:normAutofit/>
          </a:bodyPr>
          <a:lstStyle/>
          <a:p>
            <a:pPr algn="r"/>
            <a:r>
              <a:rPr lang="en-GB" sz="700" b="1" noProof="0" dirty="0">
                <a:solidFill>
                  <a:schemeClr val="bg1"/>
                </a:solidFill>
                <a:effectLst>
                  <a:glow rad="254000">
                    <a:schemeClr val="tx1">
                      <a:alpha val="34000"/>
                    </a:schemeClr>
                  </a:glow>
                </a:effectLst>
                <a:latin typeface="SKODA Next" panose="020B0504020603020204" pitchFamily="34" charset="0"/>
                <a:cs typeface="Arial" panose="020B0604020202020204" pitchFamily="34" charset="0"/>
              </a:rPr>
              <a:t>CONFIDENTIAL</a:t>
            </a:r>
          </a:p>
        </p:txBody>
      </p:sp>
    </p:spTree>
    <p:extLst>
      <p:ext uri="{BB962C8B-B14F-4D97-AF65-F5344CB8AC3E}">
        <p14:creationId xmlns:p14="http://schemas.microsoft.com/office/powerpoint/2010/main" val="40107855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3" name="Zástupný symbol pro obsah 2"/>
          <p:cNvSpPr>
            <a:spLocks noGrp="1"/>
          </p:cNvSpPr>
          <p:nvPr>
            <p:ph idx="1" hasCustomPrompt="1"/>
          </p:nvPr>
        </p:nvSpPr>
        <p:spPr>
          <a:xfrm>
            <a:off x="342850" y="1439561"/>
            <a:ext cx="10006115"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29"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0" name="Nadpis 29"/>
          <p:cNvSpPr>
            <a:spLocks noGrp="1"/>
          </p:cNvSpPr>
          <p:nvPr>
            <p:ph type="title" hasCustomPrompt="1"/>
          </p:nvPr>
        </p:nvSpPr>
        <p:spPr/>
        <p:txBody>
          <a:bodyPr/>
          <a:lstStyle>
            <a:lvl1pPr>
              <a:defRPr/>
            </a:lvl1pPr>
          </a:lstStyle>
          <a:p>
            <a:r>
              <a:rPr lang="cs-CZ" noProof="0" dirty="0"/>
              <a:t>Nadpis (shrnutí stránky)</a:t>
            </a:r>
          </a:p>
        </p:txBody>
      </p:sp>
    </p:spTree>
    <p:extLst>
      <p:ext uri="{BB962C8B-B14F-4D97-AF65-F5344CB8AC3E}">
        <p14:creationId xmlns:p14="http://schemas.microsoft.com/office/powerpoint/2010/main" val="410637405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3" name="Zástupný symbol pro obsah 2"/>
          <p:cNvSpPr>
            <a:spLocks noGrp="1"/>
          </p:cNvSpPr>
          <p:nvPr>
            <p:ph idx="1" hasCustomPrompt="1"/>
          </p:nvPr>
        </p:nvSpPr>
        <p:spPr>
          <a:xfrm>
            <a:off x="342851" y="1439561"/>
            <a:ext cx="4823697"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29"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0" name="Nadpis 29"/>
          <p:cNvSpPr>
            <a:spLocks noGrp="1"/>
          </p:cNvSpPr>
          <p:nvPr>
            <p:ph type="title" hasCustomPrompt="1"/>
          </p:nvPr>
        </p:nvSpPr>
        <p:spPr/>
        <p:txBody>
          <a:bodyPr/>
          <a:lstStyle>
            <a:lvl1pPr>
              <a:defRPr/>
            </a:lvl1pPr>
          </a:lstStyle>
          <a:p>
            <a:r>
              <a:rPr lang="cs-CZ" noProof="0" dirty="0"/>
              <a:t>Nadpis (shrnutí stránky)</a:t>
            </a:r>
          </a:p>
        </p:txBody>
      </p:sp>
      <p:sp>
        <p:nvSpPr>
          <p:cNvPr id="9" name="Zástupný symbol pro obsah 2"/>
          <p:cNvSpPr>
            <a:spLocks noGrp="1"/>
          </p:cNvSpPr>
          <p:nvPr>
            <p:ph idx="13" hasCustomPrompt="1"/>
          </p:nvPr>
        </p:nvSpPr>
        <p:spPr>
          <a:xfrm>
            <a:off x="5525268" y="1439561"/>
            <a:ext cx="4823697"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Tree>
    <p:extLst>
      <p:ext uri="{BB962C8B-B14F-4D97-AF65-F5344CB8AC3E}">
        <p14:creationId xmlns:p14="http://schemas.microsoft.com/office/powerpoint/2010/main" val="2832750302"/>
      </p:ext>
    </p:extLst>
  </p:cSld>
  <p:clrMapOvr>
    <a:masterClrMapping/>
  </p:clrMapOvr>
  <p:extLst>
    <p:ext uri="{DCECCB84-F9BA-43D5-87BE-67443E8EF086}">
      <p15:sldGuideLst xmlns:p15="http://schemas.microsoft.com/office/powerpoint/2012/main">
        <p15:guide id="1" pos="3368"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Contents">
    <p:spTree>
      <p:nvGrpSpPr>
        <p:cNvPr id="1" name=""/>
        <p:cNvGrpSpPr/>
        <p:nvPr/>
      </p:nvGrpSpPr>
      <p:grpSpPr>
        <a:xfrm>
          <a:off x="0" y="0"/>
          <a:ext cx="0" cy="0"/>
          <a:chOff x="0" y="0"/>
          <a:chExt cx="0" cy="0"/>
        </a:xfrm>
      </p:grpSpPr>
      <p:sp>
        <p:nvSpPr>
          <p:cNvPr id="3" name="Zástupný symbol pro obsah 2"/>
          <p:cNvSpPr>
            <a:spLocks noGrp="1"/>
          </p:cNvSpPr>
          <p:nvPr>
            <p:ph idx="1" hasCustomPrompt="1"/>
          </p:nvPr>
        </p:nvSpPr>
        <p:spPr>
          <a:xfrm>
            <a:off x="342849" y="1439561"/>
            <a:ext cx="3095166"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29"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0" name="Nadpis 29"/>
          <p:cNvSpPr>
            <a:spLocks noGrp="1"/>
          </p:cNvSpPr>
          <p:nvPr>
            <p:ph type="title" hasCustomPrompt="1"/>
          </p:nvPr>
        </p:nvSpPr>
        <p:spPr/>
        <p:txBody>
          <a:bodyPr/>
          <a:lstStyle>
            <a:lvl1pPr>
              <a:defRPr/>
            </a:lvl1pPr>
          </a:lstStyle>
          <a:p>
            <a:r>
              <a:rPr lang="cs-CZ" noProof="0" dirty="0"/>
              <a:t>Nadpis (shrnutí stránky)</a:t>
            </a:r>
          </a:p>
        </p:txBody>
      </p:sp>
      <p:sp>
        <p:nvSpPr>
          <p:cNvPr id="10" name="Zástupný symbol pro obsah 2"/>
          <p:cNvSpPr>
            <a:spLocks noGrp="1"/>
          </p:cNvSpPr>
          <p:nvPr>
            <p:ph idx="13" hasCustomPrompt="1"/>
          </p:nvPr>
        </p:nvSpPr>
        <p:spPr>
          <a:xfrm>
            <a:off x="3798324" y="1439561"/>
            <a:ext cx="3095166"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11" name="Zástupný symbol pro obsah 2"/>
          <p:cNvSpPr>
            <a:spLocks noGrp="1"/>
          </p:cNvSpPr>
          <p:nvPr>
            <p:ph idx="14" hasCustomPrompt="1"/>
          </p:nvPr>
        </p:nvSpPr>
        <p:spPr>
          <a:xfrm>
            <a:off x="7253800" y="1439561"/>
            <a:ext cx="3095166"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Tree>
    <p:extLst>
      <p:ext uri="{BB962C8B-B14F-4D97-AF65-F5344CB8AC3E}">
        <p14:creationId xmlns:p14="http://schemas.microsoft.com/office/powerpoint/2010/main" val="86567363"/>
      </p:ext>
    </p:extLst>
  </p:cSld>
  <p:clrMapOvr>
    <a:masterClrMapping/>
  </p:clrMapOvr>
  <p:extLst>
    <p:ext uri="{DCECCB84-F9BA-43D5-87BE-67443E8EF086}">
      <p15:sldGuideLst xmlns:p15="http://schemas.microsoft.com/office/powerpoint/2012/main">
        <p15:guide id="1" pos="336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9" name="Zástupný symbol pro text 8"/>
          <p:cNvSpPr>
            <a:spLocks noGrp="1"/>
          </p:cNvSpPr>
          <p:nvPr>
            <p:ph type="body" sz="quarter" idx="12" hasCustomPrompt="1"/>
          </p:nvPr>
        </p:nvSpPr>
        <p:spPr>
          <a:xfrm>
            <a:off x="341950" y="1439560"/>
            <a:ext cx="3096065" cy="5183048"/>
          </a:xfrm>
        </p:spPr>
        <p:txBody>
          <a:bodyPr/>
          <a:lstStyle>
            <a:lvl1pPr>
              <a:defRPr>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11" name="Zástupný symbol pro obrázek 10"/>
          <p:cNvSpPr>
            <a:spLocks noGrp="1"/>
          </p:cNvSpPr>
          <p:nvPr>
            <p:ph type="pic" sz="quarter" idx="13" hasCustomPrompt="1"/>
          </p:nvPr>
        </p:nvSpPr>
        <p:spPr>
          <a:xfrm>
            <a:off x="3797436" y="1439560"/>
            <a:ext cx="6551028" cy="5183048"/>
          </a:xfrm>
        </p:spPr>
        <p:txBody>
          <a:bodyPr/>
          <a:lstStyle>
            <a:lvl1pPr algn="l">
              <a:buFontTx/>
              <a:buNone/>
              <a:defRPr>
                <a:latin typeface="SKODA Next" panose="020B0504020603020204" pitchFamily="34" charset="0"/>
              </a:defRPr>
            </a:lvl1pPr>
          </a:lstStyle>
          <a:p>
            <a:r>
              <a:rPr lang="cs-CZ" noProof="0" dirty="0"/>
              <a:t>Obrázek</a:t>
            </a:r>
          </a:p>
        </p:txBody>
      </p:sp>
      <p:sp>
        <p:nvSpPr>
          <p:cNvPr id="15" name="Zástupný symbol pro text 28"/>
          <p:cNvSpPr>
            <a:spLocks noGrp="1"/>
          </p:cNvSpPr>
          <p:nvPr>
            <p:ph type="body" sz="quarter" idx="14"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4" name="Nadpis 3"/>
          <p:cNvSpPr>
            <a:spLocks noGrp="1"/>
          </p:cNvSpPr>
          <p:nvPr>
            <p:ph type="title" hasCustomPrompt="1"/>
          </p:nvPr>
        </p:nvSpPr>
        <p:spPr/>
        <p:txBody>
          <a:bodyPr/>
          <a:lstStyle>
            <a:lvl1pPr>
              <a:defRPr/>
            </a:lvl1pPr>
          </a:lstStyle>
          <a:p>
            <a:r>
              <a:rPr lang="cs-CZ" noProof="0" dirty="0"/>
              <a:t>Nadpis (shrnutí stránky)</a:t>
            </a:r>
          </a:p>
        </p:txBody>
      </p:sp>
    </p:spTree>
    <p:extLst>
      <p:ext uri="{BB962C8B-B14F-4D97-AF65-F5344CB8AC3E}">
        <p14:creationId xmlns:p14="http://schemas.microsoft.com/office/powerpoint/2010/main" val="30770026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11" name="Zástupný symbol pro obrázek 10"/>
          <p:cNvSpPr>
            <a:spLocks noGrp="1"/>
          </p:cNvSpPr>
          <p:nvPr>
            <p:ph type="pic" sz="quarter" idx="13" hasCustomPrompt="1"/>
          </p:nvPr>
        </p:nvSpPr>
        <p:spPr>
          <a:xfrm>
            <a:off x="341949" y="1439562"/>
            <a:ext cx="10006515" cy="5183685"/>
          </a:xfrm>
        </p:spPr>
        <p:txBody>
          <a:bodyPr/>
          <a:lstStyle>
            <a:lvl1pPr algn="l">
              <a:buFontTx/>
              <a:buNone/>
              <a:defRPr>
                <a:latin typeface="SKODA Next" panose="020B0504020603020204" pitchFamily="34" charset="0"/>
              </a:defRPr>
            </a:lvl1pPr>
          </a:lstStyle>
          <a:p>
            <a:r>
              <a:rPr lang="cs-CZ" noProof="0" dirty="0"/>
              <a:t>Obrázek</a:t>
            </a:r>
          </a:p>
        </p:txBody>
      </p:sp>
      <p:sp>
        <p:nvSpPr>
          <p:cNvPr id="13"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2" name="Nadpis 1"/>
          <p:cNvSpPr>
            <a:spLocks noGrp="1"/>
          </p:cNvSpPr>
          <p:nvPr>
            <p:ph type="title" hasCustomPrompt="1"/>
          </p:nvPr>
        </p:nvSpPr>
        <p:spPr/>
        <p:txBody>
          <a:bodyPr/>
          <a:lstStyle>
            <a:lvl1pPr>
              <a:defRPr/>
            </a:lvl1pPr>
          </a:lstStyle>
          <a:p>
            <a:r>
              <a:rPr lang="cs-CZ" noProof="0" dirty="0"/>
              <a:t>Nadpis (shrnutí stránky)</a:t>
            </a:r>
          </a:p>
        </p:txBody>
      </p:sp>
    </p:spTree>
    <p:extLst>
      <p:ext uri="{BB962C8B-B14F-4D97-AF65-F5344CB8AC3E}">
        <p14:creationId xmlns:p14="http://schemas.microsoft.com/office/powerpoint/2010/main" val="28939114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with Header">
    <p:spTree>
      <p:nvGrpSpPr>
        <p:cNvPr id="1" name=""/>
        <p:cNvGrpSpPr/>
        <p:nvPr/>
      </p:nvGrpSpPr>
      <p:grpSpPr>
        <a:xfrm>
          <a:off x="0" y="0"/>
          <a:ext cx="0" cy="0"/>
          <a:chOff x="0" y="0"/>
          <a:chExt cx="0" cy="0"/>
        </a:xfrm>
      </p:grpSpPr>
      <p:sp>
        <p:nvSpPr>
          <p:cNvPr id="11" name="Zástupný symbol pro obrázek 10"/>
          <p:cNvSpPr>
            <a:spLocks noGrp="1"/>
          </p:cNvSpPr>
          <p:nvPr>
            <p:ph type="pic" sz="quarter" idx="13" hasCustomPrompt="1"/>
          </p:nvPr>
        </p:nvSpPr>
        <p:spPr>
          <a:xfrm>
            <a:off x="1" y="0"/>
            <a:ext cx="10691813" cy="6964537"/>
          </a:xfrm>
        </p:spPr>
        <p:txBody>
          <a:bodyPr/>
          <a:lstStyle>
            <a:lvl1pPr algn="l">
              <a:buFontTx/>
              <a:buNone/>
              <a:defRPr>
                <a:latin typeface="SKODA Next" panose="020B0504020603020204" pitchFamily="34" charset="0"/>
              </a:defRPr>
            </a:lvl1pPr>
          </a:lstStyle>
          <a:p>
            <a:r>
              <a:rPr lang="cs-CZ" noProof="0" dirty="0"/>
              <a:t>Obrázek</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Tree>
    <p:extLst>
      <p:ext uri="{BB962C8B-B14F-4D97-AF65-F5344CB8AC3E}">
        <p14:creationId xmlns:p14="http://schemas.microsoft.com/office/powerpoint/2010/main" val="7260744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3" name="Zástupný symbol pro obsah 2"/>
          <p:cNvSpPr>
            <a:spLocks noGrp="1"/>
          </p:cNvSpPr>
          <p:nvPr userDrawn="1">
            <p:ph idx="1" hasCustomPrompt="1"/>
          </p:nvPr>
        </p:nvSpPr>
        <p:spPr>
          <a:xfrm>
            <a:off x="342850" y="1439561"/>
            <a:ext cx="10006115"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7" name="Zástupný symbol pro číslo snímku 6"/>
          <p:cNvSpPr>
            <a:spLocks noGrp="1"/>
          </p:cNvSpPr>
          <p:nvPr userDrawn="1">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userDrawn="1">
            <p:ph type="ftr" sz="quarter" idx="11"/>
          </p:nvPr>
        </p:nvSpPr>
        <p:spPr/>
        <p:txBody>
          <a:bodyPr/>
          <a:lstStyle>
            <a:lvl1pPr>
              <a:defRPr>
                <a:latin typeface="SKODA Next" panose="020B0504020603020204" pitchFamily="34" charset="0"/>
              </a:defRPr>
            </a:lvl1pPr>
          </a:lstStyle>
          <a:p>
            <a:endParaRPr lang="cs-CZ" dirty="0"/>
          </a:p>
        </p:txBody>
      </p:sp>
      <p:sp>
        <p:nvSpPr>
          <p:cNvPr id="29" name="Zástupný symbol pro text 28"/>
          <p:cNvSpPr>
            <a:spLocks noGrp="1"/>
          </p:cNvSpPr>
          <p:nvPr userDrawn="1">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0" name="Nadpis 29"/>
          <p:cNvSpPr>
            <a:spLocks noGrp="1"/>
          </p:cNvSpPr>
          <p:nvPr userDrawn="1">
            <p:ph type="title" hasCustomPrompt="1"/>
          </p:nvPr>
        </p:nvSpPr>
        <p:spPr/>
        <p:txBody>
          <a:bodyPr/>
          <a:lstStyle>
            <a:lvl1pPr>
              <a:defRPr/>
            </a:lvl1pPr>
          </a:lstStyle>
          <a:p>
            <a:r>
              <a:rPr lang="cs-CZ" noProof="0" dirty="0"/>
              <a:t>Nadpis (shrnutí stránky)</a:t>
            </a:r>
          </a:p>
        </p:txBody>
      </p:sp>
    </p:spTree>
    <p:extLst>
      <p:ext uri="{BB962C8B-B14F-4D97-AF65-F5344CB8AC3E}">
        <p14:creationId xmlns:p14="http://schemas.microsoft.com/office/powerpoint/2010/main" val="363271846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utli Picture">
    <p:spTree>
      <p:nvGrpSpPr>
        <p:cNvPr id="1" name=""/>
        <p:cNvGrpSpPr/>
        <p:nvPr/>
      </p:nvGrpSpPr>
      <p:grpSpPr>
        <a:xfrm>
          <a:off x="0" y="0"/>
          <a:ext cx="0" cy="0"/>
          <a:chOff x="0" y="0"/>
          <a:chExt cx="0" cy="0"/>
        </a:xfrm>
      </p:grpSpPr>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11" name="Zástupný symbol pro obrázek 10"/>
          <p:cNvSpPr>
            <a:spLocks noGrp="1"/>
          </p:cNvSpPr>
          <p:nvPr>
            <p:ph type="pic" sz="quarter" idx="13" hasCustomPrompt="1"/>
          </p:nvPr>
        </p:nvSpPr>
        <p:spPr>
          <a:xfrm>
            <a:off x="342850" y="1439699"/>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3" name="Zástupný symbol pro text 12"/>
          <p:cNvSpPr>
            <a:spLocks noGrp="1"/>
          </p:cNvSpPr>
          <p:nvPr>
            <p:ph type="body" sz="quarter" idx="14" hasCustomPrompt="1"/>
          </p:nvPr>
        </p:nvSpPr>
        <p:spPr>
          <a:xfrm>
            <a:off x="342850" y="3743214"/>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14" name="Zástupný symbol pro obrázek 10"/>
          <p:cNvSpPr>
            <a:spLocks noGrp="1"/>
          </p:cNvSpPr>
          <p:nvPr>
            <p:ph type="pic" sz="quarter" idx="15" hasCustomPrompt="1"/>
          </p:nvPr>
        </p:nvSpPr>
        <p:spPr>
          <a:xfrm>
            <a:off x="342850" y="4139132"/>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5" name="Zástupný symbol pro text 12"/>
          <p:cNvSpPr>
            <a:spLocks noGrp="1"/>
          </p:cNvSpPr>
          <p:nvPr>
            <p:ph type="body" sz="quarter" idx="16" hasCustomPrompt="1"/>
          </p:nvPr>
        </p:nvSpPr>
        <p:spPr>
          <a:xfrm>
            <a:off x="342850" y="6442647"/>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16" name="Zástupný symbol pro obrázek 10"/>
          <p:cNvSpPr>
            <a:spLocks noGrp="1"/>
          </p:cNvSpPr>
          <p:nvPr>
            <p:ph type="pic" sz="quarter" idx="17" hasCustomPrompt="1"/>
          </p:nvPr>
        </p:nvSpPr>
        <p:spPr>
          <a:xfrm>
            <a:off x="5525268" y="1439699"/>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7" name="Zástupný symbol pro text 12"/>
          <p:cNvSpPr>
            <a:spLocks noGrp="1"/>
          </p:cNvSpPr>
          <p:nvPr>
            <p:ph type="body" sz="quarter" idx="18" hasCustomPrompt="1"/>
          </p:nvPr>
        </p:nvSpPr>
        <p:spPr>
          <a:xfrm>
            <a:off x="5525268" y="3743214"/>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18" name="Zástupný symbol pro obrázek 10"/>
          <p:cNvSpPr>
            <a:spLocks noGrp="1"/>
          </p:cNvSpPr>
          <p:nvPr>
            <p:ph type="pic" sz="quarter" idx="19" hasCustomPrompt="1"/>
          </p:nvPr>
        </p:nvSpPr>
        <p:spPr>
          <a:xfrm>
            <a:off x="5525268" y="4139132"/>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9" name="Zástupný symbol pro text 12"/>
          <p:cNvSpPr>
            <a:spLocks noGrp="1"/>
          </p:cNvSpPr>
          <p:nvPr>
            <p:ph type="body" sz="quarter" idx="20" hasCustomPrompt="1"/>
          </p:nvPr>
        </p:nvSpPr>
        <p:spPr>
          <a:xfrm>
            <a:off x="5525268" y="6442647"/>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24"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2" name="Nadpis 1"/>
          <p:cNvSpPr>
            <a:spLocks noGrp="1"/>
          </p:cNvSpPr>
          <p:nvPr>
            <p:ph type="title" hasCustomPrompt="1"/>
          </p:nvPr>
        </p:nvSpPr>
        <p:spPr/>
        <p:txBody>
          <a:bodyPr/>
          <a:lstStyle>
            <a:lvl1pPr>
              <a:defRPr/>
            </a:lvl1pPr>
          </a:lstStyle>
          <a:p>
            <a:r>
              <a:rPr lang="cs-CZ" noProof="0" dirty="0"/>
              <a:t>Nadpis (shrnutí stránky)</a:t>
            </a:r>
          </a:p>
        </p:txBody>
      </p:sp>
    </p:spTree>
    <p:extLst>
      <p:ext uri="{BB962C8B-B14F-4D97-AF65-F5344CB8AC3E}">
        <p14:creationId xmlns:p14="http://schemas.microsoft.com/office/powerpoint/2010/main" val="35735283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ext Chapter">
    <p:spTree>
      <p:nvGrpSpPr>
        <p:cNvPr id="1" name=""/>
        <p:cNvGrpSpPr/>
        <p:nvPr/>
      </p:nvGrpSpPr>
      <p:grpSpPr>
        <a:xfrm>
          <a:off x="0" y="0"/>
          <a:ext cx="0" cy="0"/>
          <a:chOff x="0" y="0"/>
          <a:chExt cx="0" cy="0"/>
        </a:xfrm>
      </p:grpSpPr>
      <p:sp>
        <p:nvSpPr>
          <p:cNvPr id="6" name="Zástupný symbol pro číslo snímku 5"/>
          <p:cNvSpPr>
            <a:spLocks noGrp="1"/>
          </p:cNvSpPr>
          <p:nvPr>
            <p:ph type="sldNum" sz="quarter" idx="10"/>
          </p:nvPr>
        </p:nvSpPr>
        <p:spPr/>
        <p:txBody>
          <a:bodyPr/>
          <a:lstStyle>
            <a:lvl1pPr>
              <a:defRPr>
                <a:solidFill>
                  <a:schemeClr val="tx1"/>
                </a:solidFill>
                <a:latin typeface="SKODA Next" panose="020B0504020603020204" pitchFamily="34" charset="0"/>
              </a:defRPr>
            </a:lvl1pPr>
          </a:lstStyle>
          <a:p>
            <a:fld id="{1E956721-BB38-4972-8ACD-5A2C9377E3B4}" type="slidenum">
              <a:rPr lang="cs-CZ" smtClean="0"/>
              <a:pPr/>
              <a:t>‹#›</a:t>
            </a:fld>
            <a:endParaRPr lang="cs-CZ" dirty="0"/>
          </a:p>
        </p:txBody>
      </p:sp>
      <p:sp>
        <p:nvSpPr>
          <p:cNvPr id="7" name="Zástupný symbol pro zápatí 6"/>
          <p:cNvSpPr>
            <a:spLocks noGrp="1"/>
          </p:cNvSpPr>
          <p:nvPr>
            <p:ph type="ftr" sz="quarter" idx="11"/>
          </p:nvPr>
        </p:nvSpPr>
        <p:spPr/>
        <p:txBody>
          <a:bodyPr/>
          <a:lstStyle>
            <a:lvl1pPr>
              <a:defRPr>
                <a:solidFill>
                  <a:schemeClr val="tx1"/>
                </a:solidFill>
                <a:latin typeface="SKODA Next" panose="020B0504020603020204" pitchFamily="34" charset="0"/>
              </a:defRPr>
            </a:lvl1pPr>
          </a:lstStyle>
          <a:p>
            <a:endParaRPr lang="cs-CZ" dirty="0"/>
          </a:p>
        </p:txBody>
      </p:sp>
      <p:sp>
        <p:nvSpPr>
          <p:cNvPr id="10"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 name="Nadpis 2"/>
          <p:cNvSpPr>
            <a:spLocks noGrp="1"/>
          </p:cNvSpPr>
          <p:nvPr>
            <p:ph type="title" hasCustomPrompt="1"/>
          </p:nvPr>
        </p:nvSpPr>
        <p:spPr/>
        <p:txBody>
          <a:bodyPr/>
          <a:lstStyle>
            <a:lvl1pPr>
              <a:defRPr baseline="0"/>
            </a:lvl1pPr>
          </a:lstStyle>
          <a:p>
            <a:r>
              <a:rPr lang="cs-CZ" noProof="0" dirty="0"/>
              <a:t>Další kapitola</a:t>
            </a:r>
          </a:p>
        </p:txBody>
      </p:sp>
    </p:spTree>
    <p:extLst>
      <p:ext uri="{BB962C8B-B14F-4D97-AF65-F5344CB8AC3E}">
        <p14:creationId xmlns:p14="http://schemas.microsoft.com/office/powerpoint/2010/main" val="26004645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Dar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20" name="Skupina 19"/>
          <p:cNvGrpSpPr/>
          <p:nvPr userDrawn="1"/>
        </p:nvGrpSpPr>
        <p:grpSpPr>
          <a:xfrm>
            <a:off x="-1" y="-1905"/>
            <a:ext cx="10691994" cy="5870435"/>
            <a:chOff x="-1" y="-1905"/>
            <a:chExt cx="10691994" cy="5870435"/>
          </a:xfrm>
        </p:grpSpPr>
        <p:sp>
          <p:nvSpPr>
            <p:cNvPr id="28" name="Volný tvar 27"/>
            <p:cNvSpPr/>
            <p:nvPr userDrawn="1"/>
          </p:nvSpPr>
          <p:spPr>
            <a:xfrm>
              <a:off x="8671948" y="0"/>
              <a:ext cx="2019872" cy="3165168"/>
            </a:xfrm>
            <a:custGeom>
              <a:avLst/>
              <a:gdLst>
                <a:gd name="connsiteX0" fmla="*/ 1600200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5886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7782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9678 w 1609678"/>
                <a:gd name="connsiteY0" fmla="*/ 0 h 2472267"/>
                <a:gd name="connsiteX1" fmla="*/ 711200 w 1609678"/>
                <a:gd name="connsiteY1" fmla="*/ 0 h 2472267"/>
                <a:gd name="connsiteX2" fmla="*/ 0 w 1609678"/>
                <a:gd name="connsiteY2" fmla="*/ 1549400 h 2472267"/>
                <a:gd name="connsiteX3" fmla="*/ 465666 w 1609678"/>
                <a:gd name="connsiteY3" fmla="*/ 2472267 h 2472267"/>
                <a:gd name="connsiteX4" fmla="*/ 1608666 w 1609678"/>
                <a:gd name="connsiteY4" fmla="*/ 2472267 h 2472267"/>
                <a:gd name="connsiteX0" fmla="*/ 1609678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4 w 1611574"/>
                <a:gd name="connsiteY0" fmla="*/ 0 h 2472267"/>
                <a:gd name="connsiteX1" fmla="*/ 711200 w 1611574"/>
                <a:gd name="connsiteY1" fmla="*/ 0 h 2472267"/>
                <a:gd name="connsiteX2" fmla="*/ 0 w 1611574"/>
                <a:gd name="connsiteY2" fmla="*/ 1549400 h 2472267"/>
                <a:gd name="connsiteX3" fmla="*/ 465666 w 1611574"/>
                <a:gd name="connsiteY3" fmla="*/ 2472267 h 2472267"/>
                <a:gd name="connsiteX4" fmla="*/ 1610561 w 1611574"/>
                <a:gd name="connsiteY4" fmla="*/ 2472267 h 2472267"/>
                <a:gd name="connsiteX0" fmla="*/ 1609679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5 w 1611575"/>
                <a:gd name="connsiteY0" fmla="*/ 0 h 2472267"/>
                <a:gd name="connsiteX1" fmla="*/ 711200 w 1611575"/>
                <a:gd name="connsiteY1" fmla="*/ 0 h 2472267"/>
                <a:gd name="connsiteX2" fmla="*/ 0 w 1611575"/>
                <a:gd name="connsiteY2" fmla="*/ 1549400 h 2472267"/>
                <a:gd name="connsiteX3" fmla="*/ 465666 w 1611575"/>
                <a:gd name="connsiteY3" fmla="*/ 2472267 h 2472267"/>
                <a:gd name="connsiteX4" fmla="*/ 1610561 w 1611575"/>
                <a:gd name="connsiteY4" fmla="*/ 2472267 h 2472267"/>
                <a:gd name="connsiteX0" fmla="*/ 1609680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3995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9681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7 w 1611577"/>
                <a:gd name="connsiteY0" fmla="*/ 0 h 2472267"/>
                <a:gd name="connsiteX1" fmla="*/ 711200 w 1611577"/>
                <a:gd name="connsiteY1" fmla="*/ 0 h 2472267"/>
                <a:gd name="connsiteX2" fmla="*/ 0 w 1611577"/>
                <a:gd name="connsiteY2" fmla="*/ 1549400 h 2472267"/>
                <a:gd name="connsiteX3" fmla="*/ 465666 w 1611577"/>
                <a:gd name="connsiteY3" fmla="*/ 2472267 h 2472267"/>
                <a:gd name="connsiteX4" fmla="*/ 1610561 w 1611577"/>
                <a:gd name="connsiteY4" fmla="*/ 2472267 h 2472267"/>
                <a:gd name="connsiteX0" fmla="*/ 1609682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7787 w 1608666"/>
                <a:gd name="connsiteY0" fmla="*/ 0 h 2472267"/>
                <a:gd name="connsiteX1" fmla="*/ 709305 w 1608666"/>
                <a:gd name="connsiteY1" fmla="*/ 0 h 2472267"/>
                <a:gd name="connsiteX2" fmla="*/ 0 w 1608666"/>
                <a:gd name="connsiteY2" fmla="*/ 1549400 h 2472267"/>
                <a:gd name="connsiteX3" fmla="*/ 463771 w 1608666"/>
                <a:gd name="connsiteY3" fmla="*/ 2472267 h 2472267"/>
                <a:gd name="connsiteX4" fmla="*/ 1608666 w 1608666"/>
                <a:gd name="connsiteY4" fmla="*/ 2472267 h 2472267"/>
                <a:gd name="connsiteX0" fmla="*/ 1603996 w 1604875"/>
                <a:gd name="connsiteY0" fmla="*/ 0 h 2472267"/>
                <a:gd name="connsiteX1" fmla="*/ 705514 w 1604875"/>
                <a:gd name="connsiteY1" fmla="*/ 0 h 2472267"/>
                <a:gd name="connsiteX2" fmla="*/ 0 w 1604875"/>
                <a:gd name="connsiteY2" fmla="*/ 1549400 h 2472267"/>
                <a:gd name="connsiteX3" fmla="*/ 459980 w 1604875"/>
                <a:gd name="connsiteY3" fmla="*/ 2472267 h 2472267"/>
                <a:gd name="connsiteX4" fmla="*/ 1604875 w 1604875"/>
                <a:gd name="connsiteY4" fmla="*/ 2472267 h 2472267"/>
                <a:gd name="connsiteX0" fmla="*/ 1603996 w 1604875"/>
                <a:gd name="connsiteY0" fmla="*/ 1905 h 2474172"/>
                <a:gd name="connsiteX1" fmla="*/ 457229 w 1604875"/>
                <a:gd name="connsiteY1" fmla="*/ 0 h 2474172"/>
                <a:gd name="connsiteX2" fmla="*/ 0 w 1604875"/>
                <a:gd name="connsiteY2" fmla="*/ 1551305 h 2474172"/>
                <a:gd name="connsiteX3" fmla="*/ 459980 w 1604875"/>
                <a:gd name="connsiteY3" fmla="*/ 2474172 h 2474172"/>
                <a:gd name="connsiteX4" fmla="*/ 1604875 w 1604875"/>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5576 w 2010471"/>
                <a:gd name="connsiteY3" fmla="*/ 2474172 h 2474172"/>
                <a:gd name="connsiteX4" fmla="*/ 2010471 w 2010471"/>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7472 w 2010471"/>
                <a:gd name="connsiteY3" fmla="*/ 2474172 h 2474172"/>
                <a:gd name="connsiteX4" fmla="*/ 2010471 w 2010471"/>
                <a:gd name="connsiteY4" fmla="*/ 2474172 h 2474172"/>
                <a:gd name="connsiteX0" fmla="*/ 2009592 w 2010471"/>
                <a:gd name="connsiteY0" fmla="*/ 1905 h 3163927"/>
                <a:gd name="connsiteX1" fmla="*/ 862825 w 2010471"/>
                <a:gd name="connsiteY1" fmla="*/ 0 h 3163927"/>
                <a:gd name="connsiteX2" fmla="*/ 0 w 2010471"/>
                <a:gd name="connsiteY2" fmla="*/ 1898088 h 3163927"/>
                <a:gd name="connsiteX3" fmla="*/ 867472 w 2010471"/>
                <a:gd name="connsiteY3" fmla="*/ 2474172 h 3163927"/>
                <a:gd name="connsiteX4" fmla="*/ 2010471 w 2010471"/>
                <a:gd name="connsiteY4" fmla="*/ 3163927 h 3163927"/>
                <a:gd name="connsiteX0" fmla="*/ 2009592 w 2010471"/>
                <a:gd name="connsiteY0" fmla="*/ 1905 h 3163927"/>
                <a:gd name="connsiteX1" fmla="*/ 862825 w 2010471"/>
                <a:gd name="connsiteY1" fmla="*/ 0 h 3163927"/>
                <a:gd name="connsiteX2" fmla="*/ 0 w 2010471"/>
                <a:gd name="connsiteY2" fmla="*/ 1898088 h 3163927"/>
                <a:gd name="connsiteX3" fmla="*/ 640035 w 2010471"/>
                <a:gd name="connsiteY3" fmla="*/ 3163927 h 3163927"/>
                <a:gd name="connsiteX4" fmla="*/ 2010471 w 2010471"/>
                <a:gd name="connsiteY4" fmla="*/ 3163927 h 3163927"/>
                <a:gd name="connsiteX0" fmla="*/ 2009592 w 2010471"/>
                <a:gd name="connsiteY0" fmla="*/ 1905 h 3167738"/>
                <a:gd name="connsiteX1" fmla="*/ 862825 w 2010471"/>
                <a:gd name="connsiteY1" fmla="*/ 0 h 3167738"/>
                <a:gd name="connsiteX2" fmla="*/ 0 w 2010471"/>
                <a:gd name="connsiteY2" fmla="*/ 1898088 h 3167738"/>
                <a:gd name="connsiteX3" fmla="*/ 640035 w 2010471"/>
                <a:gd name="connsiteY3" fmla="*/ 3163927 h 3167738"/>
                <a:gd name="connsiteX4" fmla="*/ 2010471 w 2010471"/>
                <a:gd name="connsiteY4" fmla="*/ 3167738 h 3167738"/>
                <a:gd name="connsiteX0" fmla="*/ 2009592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3383 w 2013383"/>
                <a:gd name="connsiteY0" fmla="*/ 1905 h 3167738"/>
                <a:gd name="connsiteX1" fmla="*/ 862825 w 2013383"/>
                <a:gd name="connsiteY1" fmla="*/ 0 h 3167738"/>
                <a:gd name="connsiteX2" fmla="*/ 0 w 2013383"/>
                <a:gd name="connsiteY2" fmla="*/ 1898088 h 3167738"/>
                <a:gd name="connsiteX3" fmla="*/ 641930 w 2013383"/>
                <a:gd name="connsiteY3" fmla="*/ 3167738 h 3167738"/>
                <a:gd name="connsiteX4" fmla="*/ 2010471 w 2013383"/>
                <a:gd name="connsiteY4" fmla="*/ 3167738 h 3167738"/>
                <a:gd name="connsiteX0" fmla="*/ 2011488 w 2011488"/>
                <a:gd name="connsiteY0" fmla="*/ 1905 h 3167738"/>
                <a:gd name="connsiteX1" fmla="*/ 862825 w 2011488"/>
                <a:gd name="connsiteY1" fmla="*/ 0 h 3167738"/>
                <a:gd name="connsiteX2" fmla="*/ 0 w 2011488"/>
                <a:gd name="connsiteY2" fmla="*/ 1898088 h 3167738"/>
                <a:gd name="connsiteX3" fmla="*/ 641930 w 2011488"/>
                <a:gd name="connsiteY3" fmla="*/ 3167738 h 3167738"/>
                <a:gd name="connsiteX4" fmla="*/ 2010471 w 2011488"/>
                <a:gd name="connsiteY4" fmla="*/ 3167738 h 3167738"/>
                <a:gd name="connsiteX0" fmla="*/ 2009593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1489 w 2011489"/>
                <a:gd name="connsiteY0" fmla="*/ 1905 h 3167738"/>
                <a:gd name="connsiteX1" fmla="*/ 862825 w 2011489"/>
                <a:gd name="connsiteY1" fmla="*/ 0 h 3167738"/>
                <a:gd name="connsiteX2" fmla="*/ 0 w 2011489"/>
                <a:gd name="connsiteY2" fmla="*/ 1898088 h 3167738"/>
                <a:gd name="connsiteX3" fmla="*/ 641930 w 2011489"/>
                <a:gd name="connsiteY3" fmla="*/ 3167738 h 3167738"/>
                <a:gd name="connsiteX4" fmla="*/ 2010471 w 2011489"/>
                <a:gd name="connsiteY4" fmla="*/ 3167738 h 3167738"/>
                <a:gd name="connsiteX0" fmla="*/ 2009594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09594 w 2009594"/>
                <a:gd name="connsiteY0" fmla="*/ 1905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9643"/>
                <a:gd name="connsiteX1" fmla="*/ 862825 w 2009594"/>
                <a:gd name="connsiteY1" fmla="*/ 1905 h 3169643"/>
                <a:gd name="connsiteX2" fmla="*/ 0 w 2009594"/>
                <a:gd name="connsiteY2" fmla="*/ 1899993 h 3169643"/>
                <a:gd name="connsiteX3" fmla="*/ 641930 w 2009594"/>
                <a:gd name="connsiteY3" fmla="*/ 3169643 h 3169643"/>
                <a:gd name="connsiteX4" fmla="*/ 2008576 w 2009594"/>
                <a:gd name="connsiteY4" fmla="*/ 3169643 h 3169643"/>
                <a:gd name="connsiteX0" fmla="*/ 2009594 w 2009594"/>
                <a:gd name="connsiteY0" fmla="*/ 0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1905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5833"/>
                <a:gd name="connsiteX1" fmla="*/ 860930 w 2009594"/>
                <a:gd name="connsiteY1" fmla="*/ 0 h 3165833"/>
                <a:gd name="connsiteX2" fmla="*/ 0 w 2009594"/>
                <a:gd name="connsiteY2" fmla="*/ 1896183 h 3165833"/>
                <a:gd name="connsiteX3" fmla="*/ 641930 w 2009594"/>
                <a:gd name="connsiteY3" fmla="*/ 3165833 h 3165833"/>
                <a:gd name="connsiteX4" fmla="*/ 2008576 w 2009594"/>
                <a:gd name="connsiteY4" fmla="*/ 3165833 h 316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594" h="3165833">
                  <a:moveTo>
                    <a:pt x="2009594" y="0"/>
                  </a:moveTo>
                  <a:lnTo>
                    <a:pt x="860930" y="0"/>
                  </a:lnTo>
                  <a:lnTo>
                    <a:pt x="0" y="1896183"/>
                  </a:lnTo>
                  <a:lnTo>
                    <a:pt x="641930" y="3165833"/>
                  </a:lnTo>
                  <a:lnTo>
                    <a:pt x="2008576" y="3165833"/>
                  </a:lnTo>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29" name="Volný tvar 28"/>
            <p:cNvSpPr/>
            <p:nvPr userDrawn="1"/>
          </p:nvSpPr>
          <p:spPr>
            <a:xfrm>
              <a:off x="9316886" y="3164324"/>
              <a:ext cx="1375107" cy="2704206"/>
            </a:xfrm>
            <a:custGeom>
              <a:avLst/>
              <a:gdLst>
                <a:gd name="connsiteX0" fmla="*/ 1134533 w 1134533"/>
                <a:gd name="connsiteY0" fmla="*/ 0 h 2243667"/>
                <a:gd name="connsiteX1" fmla="*/ 1134533 w 1134533"/>
                <a:gd name="connsiteY1" fmla="*/ 2243667 h 2243667"/>
                <a:gd name="connsiteX2" fmla="*/ 0 w 1134533"/>
                <a:gd name="connsiteY2" fmla="*/ 0 h 2243667"/>
                <a:gd name="connsiteX0" fmla="*/ 1134533 w 1138298"/>
                <a:gd name="connsiteY0" fmla="*/ 0 h 3398339"/>
                <a:gd name="connsiteX1" fmla="*/ 1138298 w 1138298"/>
                <a:gd name="connsiteY1" fmla="*/ 3398339 h 3398339"/>
                <a:gd name="connsiteX2" fmla="*/ 0 w 1138298"/>
                <a:gd name="connsiteY2" fmla="*/ 0 h 3398339"/>
                <a:gd name="connsiteX0" fmla="*/ 1134533 w 1138298"/>
                <a:gd name="connsiteY0" fmla="*/ 693566 h 3398339"/>
                <a:gd name="connsiteX1" fmla="*/ 1138298 w 1138298"/>
                <a:gd name="connsiteY1" fmla="*/ 3398339 h 3398339"/>
                <a:gd name="connsiteX2" fmla="*/ 0 w 1138298"/>
                <a:gd name="connsiteY2" fmla="*/ 0 h 3398339"/>
                <a:gd name="connsiteX0" fmla="*/ 1356642 w 1360407"/>
                <a:gd name="connsiteY0" fmla="*/ 0 h 2704773"/>
                <a:gd name="connsiteX1" fmla="*/ 1360407 w 1360407"/>
                <a:gd name="connsiteY1" fmla="*/ 2704773 h 2704773"/>
                <a:gd name="connsiteX2" fmla="*/ 0 w 1360407"/>
                <a:gd name="connsiteY2" fmla="*/ 0 h 2704773"/>
                <a:gd name="connsiteX0" fmla="*/ 1356642 w 1358525"/>
                <a:gd name="connsiteY0" fmla="*/ 0 h 2704773"/>
                <a:gd name="connsiteX1" fmla="*/ 1358525 w 1358525"/>
                <a:gd name="connsiteY1" fmla="*/ 2704773 h 2704773"/>
                <a:gd name="connsiteX2" fmla="*/ 0 w 1358525"/>
                <a:gd name="connsiteY2" fmla="*/ 0 h 2704773"/>
                <a:gd name="connsiteX0" fmla="*/ 1358524 w 1358705"/>
                <a:gd name="connsiteY0" fmla="*/ 0 h 2704773"/>
                <a:gd name="connsiteX1" fmla="*/ 1358525 w 1358705"/>
                <a:gd name="connsiteY1" fmla="*/ 2704773 h 2704773"/>
                <a:gd name="connsiteX2" fmla="*/ 0 w 1358705"/>
                <a:gd name="connsiteY2" fmla="*/ 0 h 2704773"/>
                <a:gd name="connsiteX0" fmla="*/ 1360406 w 1360587"/>
                <a:gd name="connsiteY0" fmla="*/ 0 h 2704773"/>
                <a:gd name="connsiteX1" fmla="*/ 1360407 w 1360587"/>
                <a:gd name="connsiteY1" fmla="*/ 2704773 h 2704773"/>
                <a:gd name="connsiteX2" fmla="*/ 0 w 1360587"/>
                <a:gd name="connsiteY2" fmla="*/ 0 h 2704773"/>
                <a:gd name="connsiteX0" fmla="*/ 1358524 w 1360407"/>
                <a:gd name="connsiteY0" fmla="*/ 0 h 2704773"/>
                <a:gd name="connsiteX1" fmla="*/ 1360407 w 1360407"/>
                <a:gd name="connsiteY1" fmla="*/ 2704773 h 2704773"/>
                <a:gd name="connsiteX2" fmla="*/ 0 w 1360407"/>
                <a:gd name="connsiteY2" fmla="*/ 0 h 2704773"/>
                <a:gd name="connsiteX0" fmla="*/ 1358524 w 1358705"/>
                <a:gd name="connsiteY0" fmla="*/ 0 h 2704773"/>
                <a:gd name="connsiteX1" fmla="*/ 1358525 w 1358705"/>
                <a:gd name="connsiteY1" fmla="*/ 2704773 h 2704773"/>
                <a:gd name="connsiteX2" fmla="*/ 0 w 1358705"/>
                <a:gd name="connsiteY2" fmla="*/ 0 h 2704773"/>
              </a:gdLst>
              <a:ahLst/>
              <a:cxnLst>
                <a:cxn ang="0">
                  <a:pos x="connsiteX0" y="connsiteY0"/>
                </a:cxn>
                <a:cxn ang="0">
                  <a:pos x="connsiteX1" y="connsiteY1"/>
                </a:cxn>
                <a:cxn ang="0">
                  <a:pos x="connsiteX2" y="connsiteY2"/>
                </a:cxn>
              </a:cxnLst>
              <a:rect l="l" t="t" r="r" b="b"/>
              <a:pathLst>
                <a:path w="1358705" h="2704773">
                  <a:moveTo>
                    <a:pt x="1358524" y="0"/>
                  </a:moveTo>
                  <a:cubicBezTo>
                    <a:pt x="1359152" y="901591"/>
                    <a:pt x="1357897" y="1803182"/>
                    <a:pt x="1358525" y="2704773"/>
                  </a:cubicBezTo>
                  <a:cubicBezTo>
                    <a:pt x="980347" y="1956884"/>
                    <a:pt x="378178" y="747889"/>
                    <a:pt x="0" y="0"/>
                  </a:cubicBezTo>
                </a:path>
              </a:pathLst>
            </a:custGeom>
            <a:gradFill>
              <a:gsLst>
                <a:gs pos="0">
                  <a:schemeClr val="bg1"/>
                </a:gs>
                <a:gs pos="100000">
                  <a:schemeClr val="bg1">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0" name="Volný tvar 29"/>
            <p:cNvSpPr/>
            <p:nvPr userDrawn="1"/>
          </p:nvSpPr>
          <p:spPr>
            <a:xfrm>
              <a:off x="2381428" y="0"/>
              <a:ext cx="7155030" cy="1892480"/>
            </a:xfrm>
            <a:custGeom>
              <a:avLst/>
              <a:gdLst>
                <a:gd name="connsiteX0" fmla="*/ 7442200 w 8144934"/>
                <a:gd name="connsiteY0" fmla="*/ 1540934 h 1540934"/>
                <a:gd name="connsiteX1" fmla="*/ 8144934 w 8144934"/>
                <a:gd name="connsiteY1" fmla="*/ 0 h 1540934"/>
                <a:gd name="connsiteX2" fmla="*/ 0 w 8144934"/>
                <a:gd name="connsiteY2" fmla="*/ 0 h 1540934"/>
                <a:gd name="connsiteX0" fmla="*/ 7438390 w 8144934"/>
                <a:gd name="connsiteY0" fmla="*/ 1540934 h 1540934"/>
                <a:gd name="connsiteX1" fmla="*/ 8144934 w 8144934"/>
                <a:gd name="connsiteY1" fmla="*/ 0 h 1540934"/>
                <a:gd name="connsiteX2" fmla="*/ 0 w 8144934"/>
                <a:gd name="connsiteY2" fmla="*/ 0 h 1540934"/>
                <a:gd name="connsiteX0" fmla="*/ 7032565 w 8144934"/>
                <a:gd name="connsiteY0" fmla="*/ 1882340 h 1882340"/>
                <a:gd name="connsiteX1" fmla="*/ 8144934 w 8144934"/>
                <a:gd name="connsiteY1" fmla="*/ 0 h 1882340"/>
                <a:gd name="connsiteX2" fmla="*/ 0 w 8144934"/>
                <a:gd name="connsiteY2" fmla="*/ 0 h 1882340"/>
                <a:gd name="connsiteX0" fmla="*/ 7030660 w 8144934"/>
                <a:gd name="connsiteY0" fmla="*/ 1882340 h 1882340"/>
                <a:gd name="connsiteX1" fmla="*/ 8144934 w 8144934"/>
                <a:gd name="connsiteY1" fmla="*/ 0 h 1882340"/>
                <a:gd name="connsiteX2" fmla="*/ 0 w 8144934"/>
                <a:gd name="connsiteY2" fmla="*/ 0 h 1882340"/>
                <a:gd name="connsiteX0" fmla="*/ 7030660 w 7895342"/>
                <a:gd name="connsiteY0" fmla="*/ 1882340 h 1882340"/>
                <a:gd name="connsiteX1" fmla="*/ 7895342 w 7895342"/>
                <a:gd name="connsiteY1" fmla="*/ 0 h 1882340"/>
                <a:gd name="connsiteX2" fmla="*/ 0 w 7895342"/>
                <a:gd name="connsiteY2" fmla="*/ 0 h 1882340"/>
                <a:gd name="connsiteX0" fmla="*/ 6272357 w 7137039"/>
                <a:gd name="connsiteY0" fmla="*/ 1884237 h 1884237"/>
                <a:gd name="connsiteX1" fmla="*/ 7137039 w 7137039"/>
                <a:gd name="connsiteY1" fmla="*/ 1897 h 1884237"/>
                <a:gd name="connsiteX2" fmla="*/ 0 w 7137039"/>
                <a:gd name="connsiteY2" fmla="*/ 0 h 1884237"/>
                <a:gd name="connsiteX0" fmla="*/ 6276168 w 7137039"/>
                <a:gd name="connsiteY0" fmla="*/ 1882340 h 1882340"/>
                <a:gd name="connsiteX1" fmla="*/ 7137039 w 7137039"/>
                <a:gd name="connsiteY1" fmla="*/ 1897 h 1882340"/>
                <a:gd name="connsiteX2" fmla="*/ 0 w 7137039"/>
                <a:gd name="connsiteY2" fmla="*/ 0 h 1882340"/>
                <a:gd name="connsiteX0" fmla="*/ 6276168 w 7137039"/>
                <a:gd name="connsiteY0" fmla="*/ 1886133 h 1886133"/>
                <a:gd name="connsiteX1" fmla="*/ 7137039 w 7137039"/>
                <a:gd name="connsiteY1" fmla="*/ 1897 h 1886133"/>
                <a:gd name="connsiteX2" fmla="*/ 0 w 7137039"/>
                <a:gd name="connsiteY2" fmla="*/ 0 h 1886133"/>
                <a:gd name="connsiteX0" fmla="*/ 6291410 w 7152281"/>
                <a:gd name="connsiteY0" fmla="*/ 1884236 h 1884236"/>
                <a:gd name="connsiteX1" fmla="*/ 7152281 w 7152281"/>
                <a:gd name="connsiteY1" fmla="*/ 0 h 1884236"/>
                <a:gd name="connsiteX2" fmla="*/ 0 w 7152281"/>
                <a:gd name="connsiteY2" fmla="*/ 0 h 1884236"/>
                <a:gd name="connsiteX0" fmla="*/ 6293315 w 7154186"/>
                <a:gd name="connsiteY0" fmla="*/ 1884236 h 1884236"/>
                <a:gd name="connsiteX1" fmla="*/ 7154186 w 7154186"/>
                <a:gd name="connsiteY1" fmla="*/ 0 h 1884236"/>
                <a:gd name="connsiteX2" fmla="*/ 0 w 7154186"/>
                <a:gd name="connsiteY2" fmla="*/ 0 h 1884236"/>
                <a:gd name="connsiteX0" fmla="*/ 6295220 w 7156091"/>
                <a:gd name="connsiteY0" fmla="*/ 1884236 h 1884236"/>
                <a:gd name="connsiteX1" fmla="*/ 7156091 w 7156091"/>
                <a:gd name="connsiteY1" fmla="*/ 0 h 1884236"/>
                <a:gd name="connsiteX2" fmla="*/ 0 w 7156091"/>
                <a:gd name="connsiteY2" fmla="*/ 0 h 1884236"/>
              </a:gdLst>
              <a:ahLst/>
              <a:cxnLst>
                <a:cxn ang="0">
                  <a:pos x="connsiteX0" y="connsiteY0"/>
                </a:cxn>
                <a:cxn ang="0">
                  <a:pos x="connsiteX1" y="connsiteY1"/>
                </a:cxn>
                <a:cxn ang="0">
                  <a:pos x="connsiteX2" y="connsiteY2"/>
                </a:cxn>
              </a:cxnLst>
              <a:rect l="l" t="t" r="r" b="b"/>
              <a:pathLst>
                <a:path w="7156091" h="1884236">
                  <a:moveTo>
                    <a:pt x="6295220" y="1884236"/>
                  </a:moveTo>
                  <a:lnTo>
                    <a:pt x="7156091" y="0"/>
                  </a:lnTo>
                  <a:lnTo>
                    <a:pt x="0" y="0"/>
                  </a:lnTo>
                </a:path>
              </a:pathLst>
            </a:custGeom>
            <a:solidFill>
              <a:schemeClr val="tx1">
                <a:lumMod val="50000"/>
                <a:lumOff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1" name="Volný tvar 30"/>
            <p:cNvSpPr/>
            <p:nvPr userDrawn="1"/>
          </p:nvSpPr>
          <p:spPr>
            <a:xfrm>
              <a:off x="-1" y="-1905"/>
              <a:ext cx="8678465" cy="4438313"/>
            </a:xfrm>
            <a:custGeom>
              <a:avLst/>
              <a:gdLst>
                <a:gd name="connsiteX0" fmla="*/ 9084733 w 9084733"/>
                <a:gd name="connsiteY0" fmla="*/ 1549400 h 3623734"/>
                <a:gd name="connsiteX1" fmla="*/ 1659466 w 9084733"/>
                <a:gd name="connsiteY1" fmla="*/ 0 h 3623734"/>
                <a:gd name="connsiteX2" fmla="*/ 0 w 9084733"/>
                <a:gd name="connsiteY2" fmla="*/ 0 h 3623734"/>
                <a:gd name="connsiteX3" fmla="*/ 0 w 9084733"/>
                <a:gd name="connsiteY3" fmla="*/ 3623734 h 3623734"/>
                <a:gd name="connsiteX0" fmla="*/ 9071408 w 9071408"/>
                <a:gd name="connsiteY0" fmla="*/ 1547495 h 3623734"/>
                <a:gd name="connsiteX1" fmla="*/ 1659466 w 9071408"/>
                <a:gd name="connsiteY1" fmla="*/ 0 h 3623734"/>
                <a:gd name="connsiteX2" fmla="*/ 0 w 9071408"/>
                <a:gd name="connsiteY2" fmla="*/ 0 h 3623734"/>
                <a:gd name="connsiteX3" fmla="*/ 0 w 9071408"/>
                <a:gd name="connsiteY3" fmla="*/ 3623734 h 3623734"/>
                <a:gd name="connsiteX0" fmla="*/ 9073312 w 9073312"/>
                <a:gd name="connsiteY0" fmla="*/ 1547495 h 4437340"/>
                <a:gd name="connsiteX1" fmla="*/ 1661370 w 9073312"/>
                <a:gd name="connsiteY1" fmla="*/ 0 h 4437340"/>
                <a:gd name="connsiteX2" fmla="*/ 1904 w 9073312"/>
                <a:gd name="connsiteY2" fmla="*/ 0 h 4437340"/>
                <a:gd name="connsiteX3" fmla="*/ 0 w 9073312"/>
                <a:gd name="connsiteY3" fmla="*/ 4437340 h 4437340"/>
                <a:gd name="connsiteX0" fmla="*/ 9071408 w 9071408"/>
                <a:gd name="connsiteY0" fmla="*/ 1547495 h 4437340"/>
                <a:gd name="connsiteX1" fmla="*/ 1659466 w 9071408"/>
                <a:gd name="connsiteY1" fmla="*/ 0 h 4437340"/>
                <a:gd name="connsiteX2" fmla="*/ 0 w 9071408"/>
                <a:gd name="connsiteY2" fmla="*/ 0 h 4437340"/>
                <a:gd name="connsiteX3" fmla="*/ 0 w 9071408"/>
                <a:gd name="connsiteY3" fmla="*/ 4437340 h 4437340"/>
                <a:gd name="connsiteX0" fmla="*/ 8667864 w 8667864"/>
                <a:gd name="connsiteY0" fmla="*/ 1894278 h 4437340"/>
                <a:gd name="connsiteX1" fmla="*/ 1659466 w 8667864"/>
                <a:gd name="connsiteY1" fmla="*/ 0 h 4437340"/>
                <a:gd name="connsiteX2" fmla="*/ 0 w 8667864"/>
                <a:gd name="connsiteY2" fmla="*/ 0 h 4437340"/>
                <a:gd name="connsiteX3" fmla="*/ 0 w 8667864"/>
                <a:gd name="connsiteY3" fmla="*/ 4437340 h 4437340"/>
                <a:gd name="connsiteX0" fmla="*/ 8667864 w 8667864"/>
                <a:gd name="connsiteY0" fmla="*/ 1896183 h 4439245"/>
                <a:gd name="connsiteX1" fmla="*/ 2373282 w 8667864"/>
                <a:gd name="connsiteY1" fmla="*/ 0 h 4439245"/>
                <a:gd name="connsiteX2" fmla="*/ 0 w 8667864"/>
                <a:gd name="connsiteY2" fmla="*/ 1905 h 4439245"/>
                <a:gd name="connsiteX3" fmla="*/ 0 w 8667864"/>
                <a:gd name="connsiteY3" fmla="*/ 4439245 h 4439245"/>
                <a:gd name="connsiteX0" fmla="*/ 8671671 w 8671671"/>
                <a:gd name="connsiteY0" fmla="*/ 1894278 h 4439245"/>
                <a:gd name="connsiteX1" fmla="*/ 2373282 w 8671671"/>
                <a:gd name="connsiteY1" fmla="*/ 0 h 4439245"/>
                <a:gd name="connsiteX2" fmla="*/ 0 w 8671671"/>
                <a:gd name="connsiteY2" fmla="*/ 1905 h 4439245"/>
                <a:gd name="connsiteX3" fmla="*/ 0 w 8671671"/>
                <a:gd name="connsiteY3" fmla="*/ 4439245 h 4439245"/>
              </a:gdLst>
              <a:ahLst/>
              <a:cxnLst>
                <a:cxn ang="0">
                  <a:pos x="connsiteX0" y="connsiteY0"/>
                </a:cxn>
                <a:cxn ang="0">
                  <a:pos x="connsiteX1" y="connsiteY1"/>
                </a:cxn>
                <a:cxn ang="0">
                  <a:pos x="connsiteX2" y="connsiteY2"/>
                </a:cxn>
                <a:cxn ang="0">
                  <a:pos x="connsiteX3" y="connsiteY3"/>
                </a:cxn>
              </a:cxnLst>
              <a:rect l="l" t="t" r="r" b="b"/>
              <a:pathLst>
                <a:path w="8671671" h="4439245">
                  <a:moveTo>
                    <a:pt x="8671671" y="1894278"/>
                  </a:moveTo>
                  <a:lnTo>
                    <a:pt x="2373282" y="0"/>
                  </a:lnTo>
                  <a:lnTo>
                    <a:pt x="0" y="1905"/>
                  </a:lnTo>
                  <a:lnTo>
                    <a:pt x="0" y="4439245"/>
                  </a:lnTo>
                </a:path>
              </a:pathLst>
            </a:custGeom>
            <a:solidFill>
              <a:schemeClr val="tx1">
                <a:lumMod val="50000"/>
                <a:lumOff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pic>
          <p:nvPicPr>
            <p:cNvPr id="32" name="Obrázek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19849" y="1054894"/>
              <a:ext cx="1224000" cy="1622866"/>
            </a:xfrm>
            <a:prstGeom prst="rect">
              <a:avLst/>
            </a:prstGeom>
          </p:spPr>
        </p:pic>
      </p:grpSp>
      <p:graphicFrame>
        <p:nvGraphicFramePr>
          <p:cNvPr id="3" name="Objek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99" imgH="398" progId="TCLayout.ActiveDocument.1">
                  <p:embed/>
                </p:oleObj>
              </mc:Choice>
              <mc:Fallback>
                <p:oleObj name="think-cell Slide" r:id="rId5" imgW="399" imgH="398" progId="TCLayout.ActiveDocument.1">
                  <p:embed/>
                  <p:pic>
                    <p:nvPicPr>
                      <p:cNvPr id="3" name="Objekt 2"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Nadpis 6"/>
          <p:cNvSpPr>
            <a:spLocks noGrp="1"/>
          </p:cNvSpPr>
          <p:nvPr>
            <p:ph type="title" hasCustomPrompt="1"/>
          </p:nvPr>
        </p:nvSpPr>
        <p:spPr>
          <a:xfrm>
            <a:off x="342848" y="1638000"/>
            <a:ext cx="8278865" cy="540000"/>
          </a:xfrm>
        </p:spPr>
        <p:txBody>
          <a:bodyPr anchor="t" anchorCtr="0">
            <a:noAutofit/>
          </a:bodyPr>
          <a:lstStyle>
            <a:lvl1pPr>
              <a:lnSpc>
                <a:spcPts val="4400"/>
              </a:lnSpc>
              <a:defRPr sz="3600" cap="all" baseline="0">
                <a:solidFill>
                  <a:schemeClr val="tx1"/>
                </a:solidFill>
                <a:latin typeface="SKODA Next" panose="020B0504020603020204" pitchFamily="34" charset="0"/>
              </a:defRPr>
            </a:lvl1pPr>
          </a:lstStyle>
          <a:p>
            <a:r>
              <a:rPr lang="cs-CZ" noProof="0" dirty="0"/>
              <a:t>Název prezentace</a:t>
            </a:r>
          </a:p>
        </p:txBody>
      </p:sp>
      <p:sp>
        <p:nvSpPr>
          <p:cNvPr id="15" name="Zástupný symbol pro text 14"/>
          <p:cNvSpPr>
            <a:spLocks noGrp="1"/>
          </p:cNvSpPr>
          <p:nvPr>
            <p:ph type="body" sz="quarter" idx="13" hasCustomPrompt="1"/>
          </p:nvPr>
        </p:nvSpPr>
        <p:spPr>
          <a:xfrm>
            <a:off x="341948" y="5506843"/>
            <a:ext cx="5183231" cy="323932"/>
          </a:xfrm>
        </p:spPr>
        <p:txBody>
          <a:bodyPr vert="horz" lIns="0" tIns="0" rIns="0" bIns="0" rtlCol="0" anchor="b" anchorCtr="0">
            <a:noAutofit/>
          </a:bodyPr>
          <a:lstStyle>
            <a:lvl1pPr marL="180000" indent="-180000">
              <a:buNone/>
              <a:defRPr lang="cs-CZ" sz="2000" noProof="0" dirty="0">
                <a:effectLst>
                  <a:glow rad="254000">
                    <a:schemeClr val="bg1">
                      <a:alpha val="34000"/>
                    </a:schemeClr>
                  </a:glow>
                </a:effectLst>
              </a:defRPr>
            </a:lvl1pPr>
          </a:lstStyle>
          <a:p>
            <a:pPr marL="0" lvl="0" indent="0">
              <a:lnSpc>
                <a:spcPts val="2400"/>
              </a:lnSpc>
            </a:pPr>
            <a:r>
              <a:rPr lang="cs-CZ" noProof="0" dirty="0"/>
              <a:t>Jméno</a:t>
            </a:r>
          </a:p>
        </p:txBody>
      </p:sp>
      <p:sp>
        <p:nvSpPr>
          <p:cNvPr id="17" name="Zástupný symbol pro text 16"/>
          <p:cNvSpPr>
            <a:spLocks noGrp="1"/>
          </p:cNvSpPr>
          <p:nvPr>
            <p:ph type="body" sz="quarter" idx="14" hasCustomPrompt="1"/>
          </p:nvPr>
        </p:nvSpPr>
        <p:spPr>
          <a:xfrm>
            <a:off x="341948" y="6298677"/>
            <a:ext cx="5183231" cy="323932"/>
          </a:xfrm>
        </p:spPr>
        <p:txBody>
          <a:bodyPr vert="horz" lIns="0" tIns="0" rIns="0" bIns="0" rtlCol="0" anchor="b" anchorCtr="0">
            <a:noAutofit/>
          </a:bodyPr>
          <a:lstStyle>
            <a:lvl1pPr marL="180000" indent="-180000">
              <a:buNone/>
              <a:defRPr lang="cs-CZ" sz="2000" noProof="0" dirty="0">
                <a:effectLst>
                  <a:glow rad="254000">
                    <a:schemeClr val="bg1">
                      <a:alpha val="34000"/>
                    </a:schemeClr>
                  </a:glow>
                </a:effectLst>
              </a:defRPr>
            </a:lvl1pPr>
          </a:lstStyle>
          <a:p>
            <a:pPr marL="0" lvl="0" indent="0">
              <a:lnSpc>
                <a:spcPts val="2400"/>
              </a:lnSpc>
            </a:pPr>
            <a:r>
              <a:rPr lang="cs-CZ" sz="2000" noProof="0" dirty="0"/>
              <a:t>XX.XX.2017</a:t>
            </a:r>
            <a:endParaRPr lang="cs-CZ" noProof="0" dirty="0"/>
          </a:p>
        </p:txBody>
      </p:sp>
      <p:sp>
        <p:nvSpPr>
          <p:cNvPr id="19" name="Zástupný symbol pro text 18"/>
          <p:cNvSpPr>
            <a:spLocks noGrp="1"/>
          </p:cNvSpPr>
          <p:nvPr>
            <p:ph type="body" sz="quarter" idx="15" hasCustomPrompt="1"/>
          </p:nvPr>
        </p:nvSpPr>
        <p:spPr>
          <a:xfrm>
            <a:off x="342849" y="2358000"/>
            <a:ext cx="6550641" cy="719849"/>
          </a:xfrm>
        </p:spPr>
        <p:txBody>
          <a:bodyPr>
            <a:noAutofit/>
          </a:bodyPr>
          <a:lstStyle>
            <a:lvl1pPr marL="0" indent="0">
              <a:lnSpc>
                <a:spcPts val="2400"/>
              </a:lnSpc>
              <a:buFont typeface="Arial" panose="020B0604020202020204" pitchFamily="34" charset="0"/>
              <a:buNone/>
              <a:defRPr sz="2000">
                <a:solidFill>
                  <a:schemeClr val="tx1"/>
                </a:solidFill>
                <a:latin typeface="SKODA Next" panose="020B0504020603020204" pitchFamily="34" charset="0"/>
              </a:defRPr>
            </a:lvl1pPr>
          </a:lstStyle>
          <a:p>
            <a:pPr lvl="0"/>
            <a:r>
              <a:rPr lang="cs-CZ" noProof="0" dirty="0"/>
              <a:t>Dodatečné informace</a:t>
            </a:r>
          </a:p>
        </p:txBody>
      </p:sp>
      <p:sp>
        <p:nvSpPr>
          <p:cNvPr id="21" name="Zástupný symbol pro text 20"/>
          <p:cNvSpPr>
            <a:spLocks noGrp="1"/>
          </p:cNvSpPr>
          <p:nvPr>
            <p:ph type="body" sz="quarter" idx="16" hasCustomPrompt="1"/>
          </p:nvPr>
        </p:nvSpPr>
        <p:spPr>
          <a:xfrm>
            <a:off x="341949" y="5902760"/>
            <a:ext cx="5183231" cy="323932"/>
          </a:xfrm>
        </p:spPr>
        <p:txBody>
          <a:bodyPr vert="horz" lIns="0" tIns="0" rIns="0" bIns="0" rtlCol="0" anchor="b" anchorCtr="0">
            <a:noAutofit/>
          </a:bodyPr>
          <a:lstStyle>
            <a:lvl1pPr marL="180000" indent="-180000">
              <a:buNone/>
              <a:defRPr lang="cs-CZ" sz="2000" noProof="0" dirty="0">
                <a:effectLst>
                  <a:glow rad="254000">
                    <a:schemeClr val="bg1">
                      <a:alpha val="34000"/>
                    </a:schemeClr>
                  </a:glow>
                </a:effectLst>
              </a:defRPr>
            </a:lvl1pPr>
          </a:lstStyle>
          <a:p>
            <a:pPr marL="0" lvl="0" indent="0">
              <a:lnSpc>
                <a:spcPts val="2400"/>
              </a:lnSpc>
            </a:pPr>
            <a:r>
              <a:rPr lang="cs-CZ" noProof="0" dirty="0"/>
              <a:t>Oddělení</a:t>
            </a:r>
          </a:p>
        </p:txBody>
      </p:sp>
      <p:sp>
        <p:nvSpPr>
          <p:cNvPr id="16" name="Zástupný symbol pro číslo snímku 5"/>
          <p:cNvSpPr>
            <a:spLocks noGrp="1"/>
          </p:cNvSpPr>
          <p:nvPr>
            <p:ph type="sldNum" sz="quarter" idx="10"/>
          </p:nvPr>
        </p:nvSpPr>
        <p:spPr>
          <a:xfrm>
            <a:off x="342849" y="7162496"/>
            <a:ext cx="269960" cy="179962"/>
          </a:xfrm>
        </p:spPr>
        <p:txBody>
          <a:bodyPr/>
          <a:lstStyle>
            <a:lvl1pPr>
              <a:defRPr>
                <a:noFill/>
                <a:latin typeface="SKODA Next" panose="020B0504020603020204" pitchFamily="34" charset="0"/>
              </a:defRPr>
            </a:lvl1pPr>
          </a:lstStyle>
          <a:p>
            <a:fld id="{1E956721-BB38-4972-8ACD-5A2C9377E3B4}" type="slidenum">
              <a:rPr lang="cs-CZ" smtClean="0"/>
              <a:pPr/>
              <a:t>‹#›</a:t>
            </a:fld>
            <a:endParaRPr lang="cs-CZ" dirty="0"/>
          </a:p>
        </p:txBody>
      </p:sp>
      <p:sp>
        <p:nvSpPr>
          <p:cNvPr id="22" name="Zástupný symbol pro zápatí 6"/>
          <p:cNvSpPr>
            <a:spLocks noGrp="1"/>
          </p:cNvSpPr>
          <p:nvPr>
            <p:ph type="ftr" sz="quarter" idx="11"/>
          </p:nvPr>
        </p:nvSpPr>
        <p:spPr>
          <a:xfrm>
            <a:off x="719894" y="7162496"/>
            <a:ext cx="6173596" cy="179962"/>
          </a:xfrm>
        </p:spPr>
        <p:txBody>
          <a:bodyPr/>
          <a:lstStyle>
            <a:lvl1pPr>
              <a:defRPr>
                <a:noFill/>
                <a:latin typeface="SKODA Next" panose="020B0504020603020204" pitchFamily="34" charset="0"/>
              </a:defRPr>
            </a:lvl1pPr>
          </a:lstStyle>
          <a:p>
            <a:endParaRPr lang="cs-CZ" dirty="0"/>
          </a:p>
        </p:txBody>
      </p:sp>
      <p:sp>
        <p:nvSpPr>
          <p:cNvPr id="18" name="TextovéPole 17"/>
          <p:cNvSpPr txBox="1"/>
          <p:nvPr userDrawn="1"/>
        </p:nvSpPr>
        <p:spPr>
          <a:xfrm>
            <a:off x="9720000" y="7358802"/>
            <a:ext cx="720000" cy="108000"/>
          </a:xfrm>
          <a:prstGeom prst="rect">
            <a:avLst/>
          </a:prstGeom>
          <a:noFill/>
        </p:spPr>
        <p:txBody>
          <a:bodyPr wrap="square" lIns="0" tIns="0" rIns="0" bIns="0" rtlCol="0" anchor="b" anchorCtr="0">
            <a:normAutofit/>
          </a:bodyPr>
          <a:lstStyle/>
          <a:p>
            <a:pPr algn="r"/>
            <a:r>
              <a:rPr lang="en-GB" sz="700" b="1" noProof="0" dirty="0">
                <a:effectLst>
                  <a:glow rad="254000">
                    <a:schemeClr val="bg1">
                      <a:alpha val="34000"/>
                    </a:schemeClr>
                  </a:glow>
                </a:effectLst>
                <a:latin typeface="SKODA Next" panose="020B0504020603020204" pitchFamily="34" charset="0"/>
                <a:cs typeface="Arial" panose="020B0604020202020204" pitchFamily="34" charset="0"/>
              </a:rPr>
              <a:t>CONFIDENTIAL</a:t>
            </a:r>
          </a:p>
        </p:txBody>
      </p:sp>
    </p:spTree>
    <p:extLst>
      <p:ext uri="{BB962C8B-B14F-4D97-AF65-F5344CB8AC3E}">
        <p14:creationId xmlns:p14="http://schemas.microsoft.com/office/powerpoint/2010/main" val="17173190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Ligh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20" name="Skupina 19"/>
          <p:cNvGrpSpPr/>
          <p:nvPr userDrawn="1"/>
        </p:nvGrpSpPr>
        <p:grpSpPr>
          <a:xfrm>
            <a:off x="-1" y="-1905"/>
            <a:ext cx="10691994" cy="5870435"/>
            <a:chOff x="-1" y="-1905"/>
            <a:chExt cx="10691994" cy="5870435"/>
          </a:xfrm>
        </p:grpSpPr>
        <p:sp>
          <p:nvSpPr>
            <p:cNvPr id="28" name="Volný tvar 27"/>
            <p:cNvSpPr/>
            <p:nvPr userDrawn="1"/>
          </p:nvSpPr>
          <p:spPr>
            <a:xfrm>
              <a:off x="8671948" y="0"/>
              <a:ext cx="2019872" cy="3165168"/>
            </a:xfrm>
            <a:custGeom>
              <a:avLst/>
              <a:gdLst>
                <a:gd name="connsiteX0" fmla="*/ 1600200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5886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7782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9678 w 1609678"/>
                <a:gd name="connsiteY0" fmla="*/ 0 h 2472267"/>
                <a:gd name="connsiteX1" fmla="*/ 711200 w 1609678"/>
                <a:gd name="connsiteY1" fmla="*/ 0 h 2472267"/>
                <a:gd name="connsiteX2" fmla="*/ 0 w 1609678"/>
                <a:gd name="connsiteY2" fmla="*/ 1549400 h 2472267"/>
                <a:gd name="connsiteX3" fmla="*/ 465666 w 1609678"/>
                <a:gd name="connsiteY3" fmla="*/ 2472267 h 2472267"/>
                <a:gd name="connsiteX4" fmla="*/ 1608666 w 1609678"/>
                <a:gd name="connsiteY4" fmla="*/ 2472267 h 2472267"/>
                <a:gd name="connsiteX0" fmla="*/ 1609678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4 w 1611574"/>
                <a:gd name="connsiteY0" fmla="*/ 0 h 2472267"/>
                <a:gd name="connsiteX1" fmla="*/ 711200 w 1611574"/>
                <a:gd name="connsiteY1" fmla="*/ 0 h 2472267"/>
                <a:gd name="connsiteX2" fmla="*/ 0 w 1611574"/>
                <a:gd name="connsiteY2" fmla="*/ 1549400 h 2472267"/>
                <a:gd name="connsiteX3" fmla="*/ 465666 w 1611574"/>
                <a:gd name="connsiteY3" fmla="*/ 2472267 h 2472267"/>
                <a:gd name="connsiteX4" fmla="*/ 1610561 w 1611574"/>
                <a:gd name="connsiteY4" fmla="*/ 2472267 h 2472267"/>
                <a:gd name="connsiteX0" fmla="*/ 1609679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5 w 1611575"/>
                <a:gd name="connsiteY0" fmla="*/ 0 h 2472267"/>
                <a:gd name="connsiteX1" fmla="*/ 711200 w 1611575"/>
                <a:gd name="connsiteY1" fmla="*/ 0 h 2472267"/>
                <a:gd name="connsiteX2" fmla="*/ 0 w 1611575"/>
                <a:gd name="connsiteY2" fmla="*/ 1549400 h 2472267"/>
                <a:gd name="connsiteX3" fmla="*/ 465666 w 1611575"/>
                <a:gd name="connsiteY3" fmla="*/ 2472267 h 2472267"/>
                <a:gd name="connsiteX4" fmla="*/ 1610561 w 1611575"/>
                <a:gd name="connsiteY4" fmla="*/ 2472267 h 2472267"/>
                <a:gd name="connsiteX0" fmla="*/ 1609680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3995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9681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7 w 1611577"/>
                <a:gd name="connsiteY0" fmla="*/ 0 h 2472267"/>
                <a:gd name="connsiteX1" fmla="*/ 711200 w 1611577"/>
                <a:gd name="connsiteY1" fmla="*/ 0 h 2472267"/>
                <a:gd name="connsiteX2" fmla="*/ 0 w 1611577"/>
                <a:gd name="connsiteY2" fmla="*/ 1549400 h 2472267"/>
                <a:gd name="connsiteX3" fmla="*/ 465666 w 1611577"/>
                <a:gd name="connsiteY3" fmla="*/ 2472267 h 2472267"/>
                <a:gd name="connsiteX4" fmla="*/ 1610561 w 1611577"/>
                <a:gd name="connsiteY4" fmla="*/ 2472267 h 2472267"/>
                <a:gd name="connsiteX0" fmla="*/ 1609682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7787 w 1608666"/>
                <a:gd name="connsiteY0" fmla="*/ 0 h 2472267"/>
                <a:gd name="connsiteX1" fmla="*/ 709305 w 1608666"/>
                <a:gd name="connsiteY1" fmla="*/ 0 h 2472267"/>
                <a:gd name="connsiteX2" fmla="*/ 0 w 1608666"/>
                <a:gd name="connsiteY2" fmla="*/ 1549400 h 2472267"/>
                <a:gd name="connsiteX3" fmla="*/ 463771 w 1608666"/>
                <a:gd name="connsiteY3" fmla="*/ 2472267 h 2472267"/>
                <a:gd name="connsiteX4" fmla="*/ 1608666 w 1608666"/>
                <a:gd name="connsiteY4" fmla="*/ 2472267 h 2472267"/>
                <a:gd name="connsiteX0" fmla="*/ 1603996 w 1604875"/>
                <a:gd name="connsiteY0" fmla="*/ 0 h 2472267"/>
                <a:gd name="connsiteX1" fmla="*/ 705514 w 1604875"/>
                <a:gd name="connsiteY1" fmla="*/ 0 h 2472267"/>
                <a:gd name="connsiteX2" fmla="*/ 0 w 1604875"/>
                <a:gd name="connsiteY2" fmla="*/ 1549400 h 2472267"/>
                <a:gd name="connsiteX3" fmla="*/ 459980 w 1604875"/>
                <a:gd name="connsiteY3" fmla="*/ 2472267 h 2472267"/>
                <a:gd name="connsiteX4" fmla="*/ 1604875 w 1604875"/>
                <a:gd name="connsiteY4" fmla="*/ 2472267 h 2472267"/>
                <a:gd name="connsiteX0" fmla="*/ 1603996 w 1604875"/>
                <a:gd name="connsiteY0" fmla="*/ 1905 h 2474172"/>
                <a:gd name="connsiteX1" fmla="*/ 457229 w 1604875"/>
                <a:gd name="connsiteY1" fmla="*/ 0 h 2474172"/>
                <a:gd name="connsiteX2" fmla="*/ 0 w 1604875"/>
                <a:gd name="connsiteY2" fmla="*/ 1551305 h 2474172"/>
                <a:gd name="connsiteX3" fmla="*/ 459980 w 1604875"/>
                <a:gd name="connsiteY3" fmla="*/ 2474172 h 2474172"/>
                <a:gd name="connsiteX4" fmla="*/ 1604875 w 1604875"/>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5576 w 2010471"/>
                <a:gd name="connsiteY3" fmla="*/ 2474172 h 2474172"/>
                <a:gd name="connsiteX4" fmla="*/ 2010471 w 2010471"/>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7472 w 2010471"/>
                <a:gd name="connsiteY3" fmla="*/ 2474172 h 2474172"/>
                <a:gd name="connsiteX4" fmla="*/ 2010471 w 2010471"/>
                <a:gd name="connsiteY4" fmla="*/ 2474172 h 2474172"/>
                <a:gd name="connsiteX0" fmla="*/ 2009592 w 2010471"/>
                <a:gd name="connsiteY0" fmla="*/ 1905 h 3163927"/>
                <a:gd name="connsiteX1" fmla="*/ 862825 w 2010471"/>
                <a:gd name="connsiteY1" fmla="*/ 0 h 3163927"/>
                <a:gd name="connsiteX2" fmla="*/ 0 w 2010471"/>
                <a:gd name="connsiteY2" fmla="*/ 1898088 h 3163927"/>
                <a:gd name="connsiteX3" fmla="*/ 867472 w 2010471"/>
                <a:gd name="connsiteY3" fmla="*/ 2474172 h 3163927"/>
                <a:gd name="connsiteX4" fmla="*/ 2010471 w 2010471"/>
                <a:gd name="connsiteY4" fmla="*/ 3163927 h 3163927"/>
                <a:gd name="connsiteX0" fmla="*/ 2009592 w 2010471"/>
                <a:gd name="connsiteY0" fmla="*/ 1905 h 3163927"/>
                <a:gd name="connsiteX1" fmla="*/ 862825 w 2010471"/>
                <a:gd name="connsiteY1" fmla="*/ 0 h 3163927"/>
                <a:gd name="connsiteX2" fmla="*/ 0 w 2010471"/>
                <a:gd name="connsiteY2" fmla="*/ 1898088 h 3163927"/>
                <a:gd name="connsiteX3" fmla="*/ 640035 w 2010471"/>
                <a:gd name="connsiteY3" fmla="*/ 3163927 h 3163927"/>
                <a:gd name="connsiteX4" fmla="*/ 2010471 w 2010471"/>
                <a:gd name="connsiteY4" fmla="*/ 3163927 h 3163927"/>
                <a:gd name="connsiteX0" fmla="*/ 2009592 w 2010471"/>
                <a:gd name="connsiteY0" fmla="*/ 1905 h 3167738"/>
                <a:gd name="connsiteX1" fmla="*/ 862825 w 2010471"/>
                <a:gd name="connsiteY1" fmla="*/ 0 h 3167738"/>
                <a:gd name="connsiteX2" fmla="*/ 0 w 2010471"/>
                <a:gd name="connsiteY2" fmla="*/ 1898088 h 3167738"/>
                <a:gd name="connsiteX3" fmla="*/ 640035 w 2010471"/>
                <a:gd name="connsiteY3" fmla="*/ 3163927 h 3167738"/>
                <a:gd name="connsiteX4" fmla="*/ 2010471 w 2010471"/>
                <a:gd name="connsiteY4" fmla="*/ 3167738 h 3167738"/>
                <a:gd name="connsiteX0" fmla="*/ 2009592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3383 w 2013383"/>
                <a:gd name="connsiteY0" fmla="*/ 1905 h 3167738"/>
                <a:gd name="connsiteX1" fmla="*/ 862825 w 2013383"/>
                <a:gd name="connsiteY1" fmla="*/ 0 h 3167738"/>
                <a:gd name="connsiteX2" fmla="*/ 0 w 2013383"/>
                <a:gd name="connsiteY2" fmla="*/ 1898088 h 3167738"/>
                <a:gd name="connsiteX3" fmla="*/ 641930 w 2013383"/>
                <a:gd name="connsiteY3" fmla="*/ 3167738 h 3167738"/>
                <a:gd name="connsiteX4" fmla="*/ 2010471 w 2013383"/>
                <a:gd name="connsiteY4" fmla="*/ 3167738 h 3167738"/>
                <a:gd name="connsiteX0" fmla="*/ 2011488 w 2011488"/>
                <a:gd name="connsiteY0" fmla="*/ 1905 h 3167738"/>
                <a:gd name="connsiteX1" fmla="*/ 862825 w 2011488"/>
                <a:gd name="connsiteY1" fmla="*/ 0 h 3167738"/>
                <a:gd name="connsiteX2" fmla="*/ 0 w 2011488"/>
                <a:gd name="connsiteY2" fmla="*/ 1898088 h 3167738"/>
                <a:gd name="connsiteX3" fmla="*/ 641930 w 2011488"/>
                <a:gd name="connsiteY3" fmla="*/ 3167738 h 3167738"/>
                <a:gd name="connsiteX4" fmla="*/ 2010471 w 2011488"/>
                <a:gd name="connsiteY4" fmla="*/ 3167738 h 3167738"/>
                <a:gd name="connsiteX0" fmla="*/ 2009593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1489 w 2011489"/>
                <a:gd name="connsiteY0" fmla="*/ 1905 h 3167738"/>
                <a:gd name="connsiteX1" fmla="*/ 862825 w 2011489"/>
                <a:gd name="connsiteY1" fmla="*/ 0 h 3167738"/>
                <a:gd name="connsiteX2" fmla="*/ 0 w 2011489"/>
                <a:gd name="connsiteY2" fmla="*/ 1898088 h 3167738"/>
                <a:gd name="connsiteX3" fmla="*/ 641930 w 2011489"/>
                <a:gd name="connsiteY3" fmla="*/ 3167738 h 3167738"/>
                <a:gd name="connsiteX4" fmla="*/ 2010471 w 2011489"/>
                <a:gd name="connsiteY4" fmla="*/ 3167738 h 3167738"/>
                <a:gd name="connsiteX0" fmla="*/ 2009594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09594 w 2009594"/>
                <a:gd name="connsiteY0" fmla="*/ 1905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9643"/>
                <a:gd name="connsiteX1" fmla="*/ 862825 w 2009594"/>
                <a:gd name="connsiteY1" fmla="*/ 1905 h 3169643"/>
                <a:gd name="connsiteX2" fmla="*/ 0 w 2009594"/>
                <a:gd name="connsiteY2" fmla="*/ 1899993 h 3169643"/>
                <a:gd name="connsiteX3" fmla="*/ 641930 w 2009594"/>
                <a:gd name="connsiteY3" fmla="*/ 3169643 h 3169643"/>
                <a:gd name="connsiteX4" fmla="*/ 2008576 w 2009594"/>
                <a:gd name="connsiteY4" fmla="*/ 3169643 h 3169643"/>
                <a:gd name="connsiteX0" fmla="*/ 2009594 w 2009594"/>
                <a:gd name="connsiteY0" fmla="*/ 0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1905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5833"/>
                <a:gd name="connsiteX1" fmla="*/ 860930 w 2009594"/>
                <a:gd name="connsiteY1" fmla="*/ 0 h 3165833"/>
                <a:gd name="connsiteX2" fmla="*/ 0 w 2009594"/>
                <a:gd name="connsiteY2" fmla="*/ 1896183 h 3165833"/>
                <a:gd name="connsiteX3" fmla="*/ 641930 w 2009594"/>
                <a:gd name="connsiteY3" fmla="*/ 3165833 h 3165833"/>
                <a:gd name="connsiteX4" fmla="*/ 2008576 w 2009594"/>
                <a:gd name="connsiteY4" fmla="*/ 3165833 h 316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594" h="3165833">
                  <a:moveTo>
                    <a:pt x="2009594" y="0"/>
                  </a:moveTo>
                  <a:lnTo>
                    <a:pt x="860930" y="0"/>
                  </a:lnTo>
                  <a:lnTo>
                    <a:pt x="0" y="1896183"/>
                  </a:lnTo>
                  <a:lnTo>
                    <a:pt x="641930" y="3165833"/>
                  </a:lnTo>
                  <a:lnTo>
                    <a:pt x="2008576" y="3165833"/>
                  </a:lnTo>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29" name="Volný tvar 28"/>
            <p:cNvSpPr/>
            <p:nvPr userDrawn="1"/>
          </p:nvSpPr>
          <p:spPr>
            <a:xfrm>
              <a:off x="9316886" y="3164324"/>
              <a:ext cx="1375107" cy="2704206"/>
            </a:xfrm>
            <a:custGeom>
              <a:avLst/>
              <a:gdLst>
                <a:gd name="connsiteX0" fmla="*/ 1134533 w 1134533"/>
                <a:gd name="connsiteY0" fmla="*/ 0 h 2243667"/>
                <a:gd name="connsiteX1" fmla="*/ 1134533 w 1134533"/>
                <a:gd name="connsiteY1" fmla="*/ 2243667 h 2243667"/>
                <a:gd name="connsiteX2" fmla="*/ 0 w 1134533"/>
                <a:gd name="connsiteY2" fmla="*/ 0 h 2243667"/>
                <a:gd name="connsiteX0" fmla="*/ 1134533 w 1138298"/>
                <a:gd name="connsiteY0" fmla="*/ 0 h 3398339"/>
                <a:gd name="connsiteX1" fmla="*/ 1138298 w 1138298"/>
                <a:gd name="connsiteY1" fmla="*/ 3398339 h 3398339"/>
                <a:gd name="connsiteX2" fmla="*/ 0 w 1138298"/>
                <a:gd name="connsiteY2" fmla="*/ 0 h 3398339"/>
                <a:gd name="connsiteX0" fmla="*/ 1134533 w 1138298"/>
                <a:gd name="connsiteY0" fmla="*/ 693566 h 3398339"/>
                <a:gd name="connsiteX1" fmla="*/ 1138298 w 1138298"/>
                <a:gd name="connsiteY1" fmla="*/ 3398339 h 3398339"/>
                <a:gd name="connsiteX2" fmla="*/ 0 w 1138298"/>
                <a:gd name="connsiteY2" fmla="*/ 0 h 3398339"/>
                <a:gd name="connsiteX0" fmla="*/ 1356642 w 1360407"/>
                <a:gd name="connsiteY0" fmla="*/ 0 h 2704773"/>
                <a:gd name="connsiteX1" fmla="*/ 1360407 w 1360407"/>
                <a:gd name="connsiteY1" fmla="*/ 2704773 h 2704773"/>
                <a:gd name="connsiteX2" fmla="*/ 0 w 1360407"/>
                <a:gd name="connsiteY2" fmla="*/ 0 h 2704773"/>
                <a:gd name="connsiteX0" fmla="*/ 1356642 w 1358525"/>
                <a:gd name="connsiteY0" fmla="*/ 0 h 2704773"/>
                <a:gd name="connsiteX1" fmla="*/ 1358525 w 1358525"/>
                <a:gd name="connsiteY1" fmla="*/ 2704773 h 2704773"/>
                <a:gd name="connsiteX2" fmla="*/ 0 w 1358525"/>
                <a:gd name="connsiteY2" fmla="*/ 0 h 2704773"/>
                <a:gd name="connsiteX0" fmla="*/ 1358524 w 1358705"/>
                <a:gd name="connsiteY0" fmla="*/ 0 h 2704773"/>
                <a:gd name="connsiteX1" fmla="*/ 1358525 w 1358705"/>
                <a:gd name="connsiteY1" fmla="*/ 2704773 h 2704773"/>
                <a:gd name="connsiteX2" fmla="*/ 0 w 1358705"/>
                <a:gd name="connsiteY2" fmla="*/ 0 h 2704773"/>
                <a:gd name="connsiteX0" fmla="*/ 1360406 w 1360587"/>
                <a:gd name="connsiteY0" fmla="*/ 0 h 2704773"/>
                <a:gd name="connsiteX1" fmla="*/ 1360407 w 1360587"/>
                <a:gd name="connsiteY1" fmla="*/ 2704773 h 2704773"/>
                <a:gd name="connsiteX2" fmla="*/ 0 w 1360587"/>
                <a:gd name="connsiteY2" fmla="*/ 0 h 2704773"/>
                <a:gd name="connsiteX0" fmla="*/ 1358524 w 1360407"/>
                <a:gd name="connsiteY0" fmla="*/ 0 h 2704773"/>
                <a:gd name="connsiteX1" fmla="*/ 1360407 w 1360407"/>
                <a:gd name="connsiteY1" fmla="*/ 2704773 h 2704773"/>
                <a:gd name="connsiteX2" fmla="*/ 0 w 1360407"/>
                <a:gd name="connsiteY2" fmla="*/ 0 h 2704773"/>
                <a:gd name="connsiteX0" fmla="*/ 1358524 w 1358705"/>
                <a:gd name="connsiteY0" fmla="*/ 0 h 2704773"/>
                <a:gd name="connsiteX1" fmla="*/ 1358525 w 1358705"/>
                <a:gd name="connsiteY1" fmla="*/ 2704773 h 2704773"/>
                <a:gd name="connsiteX2" fmla="*/ 0 w 1358705"/>
                <a:gd name="connsiteY2" fmla="*/ 0 h 2704773"/>
              </a:gdLst>
              <a:ahLst/>
              <a:cxnLst>
                <a:cxn ang="0">
                  <a:pos x="connsiteX0" y="connsiteY0"/>
                </a:cxn>
                <a:cxn ang="0">
                  <a:pos x="connsiteX1" y="connsiteY1"/>
                </a:cxn>
                <a:cxn ang="0">
                  <a:pos x="connsiteX2" y="connsiteY2"/>
                </a:cxn>
              </a:cxnLst>
              <a:rect l="l" t="t" r="r" b="b"/>
              <a:pathLst>
                <a:path w="1358705" h="2704773">
                  <a:moveTo>
                    <a:pt x="1358524" y="0"/>
                  </a:moveTo>
                  <a:cubicBezTo>
                    <a:pt x="1359152" y="901591"/>
                    <a:pt x="1357897" y="1803182"/>
                    <a:pt x="1358525" y="2704773"/>
                  </a:cubicBezTo>
                  <a:cubicBezTo>
                    <a:pt x="980347" y="1956884"/>
                    <a:pt x="378178" y="747889"/>
                    <a:pt x="0" y="0"/>
                  </a:cubicBezTo>
                </a:path>
              </a:pathLst>
            </a:custGeom>
            <a:gradFill>
              <a:gsLst>
                <a:gs pos="0">
                  <a:schemeClr val="bg1"/>
                </a:gs>
                <a:gs pos="100000">
                  <a:schemeClr val="bg1">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0" name="Volný tvar 29"/>
            <p:cNvSpPr/>
            <p:nvPr userDrawn="1"/>
          </p:nvSpPr>
          <p:spPr>
            <a:xfrm>
              <a:off x="2381428" y="0"/>
              <a:ext cx="7155030" cy="1892480"/>
            </a:xfrm>
            <a:custGeom>
              <a:avLst/>
              <a:gdLst>
                <a:gd name="connsiteX0" fmla="*/ 7442200 w 8144934"/>
                <a:gd name="connsiteY0" fmla="*/ 1540934 h 1540934"/>
                <a:gd name="connsiteX1" fmla="*/ 8144934 w 8144934"/>
                <a:gd name="connsiteY1" fmla="*/ 0 h 1540934"/>
                <a:gd name="connsiteX2" fmla="*/ 0 w 8144934"/>
                <a:gd name="connsiteY2" fmla="*/ 0 h 1540934"/>
                <a:gd name="connsiteX0" fmla="*/ 7438390 w 8144934"/>
                <a:gd name="connsiteY0" fmla="*/ 1540934 h 1540934"/>
                <a:gd name="connsiteX1" fmla="*/ 8144934 w 8144934"/>
                <a:gd name="connsiteY1" fmla="*/ 0 h 1540934"/>
                <a:gd name="connsiteX2" fmla="*/ 0 w 8144934"/>
                <a:gd name="connsiteY2" fmla="*/ 0 h 1540934"/>
                <a:gd name="connsiteX0" fmla="*/ 7032565 w 8144934"/>
                <a:gd name="connsiteY0" fmla="*/ 1882340 h 1882340"/>
                <a:gd name="connsiteX1" fmla="*/ 8144934 w 8144934"/>
                <a:gd name="connsiteY1" fmla="*/ 0 h 1882340"/>
                <a:gd name="connsiteX2" fmla="*/ 0 w 8144934"/>
                <a:gd name="connsiteY2" fmla="*/ 0 h 1882340"/>
                <a:gd name="connsiteX0" fmla="*/ 7030660 w 8144934"/>
                <a:gd name="connsiteY0" fmla="*/ 1882340 h 1882340"/>
                <a:gd name="connsiteX1" fmla="*/ 8144934 w 8144934"/>
                <a:gd name="connsiteY1" fmla="*/ 0 h 1882340"/>
                <a:gd name="connsiteX2" fmla="*/ 0 w 8144934"/>
                <a:gd name="connsiteY2" fmla="*/ 0 h 1882340"/>
                <a:gd name="connsiteX0" fmla="*/ 7030660 w 7895342"/>
                <a:gd name="connsiteY0" fmla="*/ 1882340 h 1882340"/>
                <a:gd name="connsiteX1" fmla="*/ 7895342 w 7895342"/>
                <a:gd name="connsiteY1" fmla="*/ 0 h 1882340"/>
                <a:gd name="connsiteX2" fmla="*/ 0 w 7895342"/>
                <a:gd name="connsiteY2" fmla="*/ 0 h 1882340"/>
                <a:gd name="connsiteX0" fmla="*/ 6272357 w 7137039"/>
                <a:gd name="connsiteY0" fmla="*/ 1884237 h 1884237"/>
                <a:gd name="connsiteX1" fmla="*/ 7137039 w 7137039"/>
                <a:gd name="connsiteY1" fmla="*/ 1897 h 1884237"/>
                <a:gd name="connsiteX2" fmla="*/ 0 w 7137039"/>
                <a:gd name="connsiteY2" fmla="*/ 0 h 1884237"/>
                <a:gd name="connsiteX0" fmla="*/ 6276168 w 7137039"/>
                <a:gd name="connsiteY0" fmla="*/ 1882340 h 1882340"/>
                <a:gd name="connsiteX1" fmla="*/ 7137039 w 7137039"/>
                <a:gd name="connsiteY1" fmla="*/ 1897 h 1882340"/>
                <a:gd name="connsiteX2" fmla="*/ 0 w 7137039"/>
                <a:gd name="connsiteY2" fmla="*/ 0 h 1882340"/>
                <a:gd name="connsiteX0" fmla="*/ 6276168 w 7137039"/>
                <a:gd name="connsiteY0" fmla="*/ 1886133 h 1886133"/>
                <a:gd name="connsiteX1" fmla="*/ 7137039 w 7137039"/>
                <a:gd name="connsiteY1" fmla="*/ 1897 h 1886133"/>
                <a:gd name="connsiteX2" fmla="*/ 0 w 7137039"/>
                <a:gd name="connsiteY2" fmla="*/ 0 h 1886133"/>
                <a:gd name="connsiteX0" fmla="*/ 6291410 w 7152281"/>
                <a:gd name="connsiteY0" fmla="*/ 1884236 h 1884236"/>
                <a:gd name="connsiteX1" fmla="*/ 7152281 w 7152281"/>
                <a:gd name="connsiteY1" fmla="*/ 0 h 1884236"/>
                <a:gd name="connsiteX2" fmla="*/ 0 w 7152281"/>
                <a:gd name="connsiteY2" fmla="*/ 0 h 1884236"/>
                <a:gd name="connsiteX0" fmla="*/ 6293315 w 7154186"/>
                <a:gd name="connsiteY0" fmla="*/ 1884236 h 1884236"/>
                <a:gd name="connsiteX1" fmla="*/ 7154186 w 7154186"/>
                <a:gd name="connsiteY1" fmla="*/ 0 h 1884236"/>
                <a:gd name="connsiteX2" fmla="*/ 0 w 7154186"/>
                <a:gd name="connsiteY2" fmla="*/ 0 h 1884236"/>
                <a:gd name="connsiteX0" fmla="*/ 6295220 w 7156091"/>
                <a:gd name="connsiteY0" fmla="*/ 1884236 h 1884236"/>
                <a:gd name="connsiteX1" fmla="*/ 7156091 w 7156091"/>
                <a:gd name="connsiteY1" fmla="*/ 0 h 1884236"/>
                <a:gd name="connsiteX2" fmla="*/ 0 w 7156091"/>
                <a:gd name="connsiteY2" fmla="*/ 0 h 1884236"/>
              </a:gdLst>
              <a:ahLst/>
              <a:cxnLst>
                <a:cxn ang="0">
                  <a:pos x="connsiteX0" y="connsiteY0"/>
                </a:cxn>
                <a:cxn ang="0">
                  <a:pos x="connsiteX1" y="connsiteY1"/>
                </a:cxn>
                <a:cxn ang="0">
                  <a:pos x="connsiteX2" y="connsiteY2"/>
                </a:cxn>
              </a:cxnLst>
              <a:rect l="l" t="t" r="r" b="b"/>
              <a:pathLst>
                <a:path w="7156091" h="1884236">
                  <a:moveTo>
                    <a:pt x="6295220" y="1884236"/>
                  </a:moveTo>
                  <a:lnTo>
                    <a:pt x="7156091" y="0"/>
                  </a:lnTo>
                  <a:lnTo>
                    <a:pt x="0" y="0"/>
                  </a:lnTo>
                </a:path>
              </a:pathLst>
            </a:cu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1" name="Volný tvar 30"/>
            <p:cNvSpPr/>
            <p:nvPr userDrawn="1"/>
          </p:nvSpPr>
          <p:spPr>
            <a:xfrm>
              <a:off x="-1" y="-1905"/>
              <a:ext cx="8678465" cy="4438313"/>
            </a:xfrm>
            <a:custGeom>
              <a:avLst/>
              <a:gdLst>
                <a:gd name="connsiteX0" fmla="*/ 9084733 w 9084733"/>
                <a:gd name="connsiteY0" fmla="*/ 1549400 h 3623734"/>
                <a:gd name="connsiteX1" fmla="*/ 1659466 w 9084733"/>
                <a:gd name="connsiteY1" fmla="*/ 0 h 3623734"/>
                <a:gd name="connsiteX2" fmla="*/ 0 w 9084733"/>
                <a:gd name="connsiteY2" fmla="*/ 0 h 3623734"/>
                <a:gd name="connsiteX3" fmla="*/ 0 w 9084733"/>
                <a:gd name="connsiteY3" fmla="*/ 3623734 h 3623734"/>
                <a:gd name="connsiteX0" fmla="*/ 9071408 w 9071408"/>
                <a:gd name="connsiteY0" fmla="*/ 1547495 h 3623734"/>
                <a:gd name="connsiteX1" fmla="*/ 1659466 w 9071408"/>
                <a:gd name="connsiteY1" fmla="*/ 0 h 3623734"/>
                <a:gd name="connsiteX2" fmla="*/ 0 w 9071408"/>
                <a:gd name="connsiteY2" fmla="*/ 0 h 3623734"/>
                <a:gd name="connsiteX3" fmla="*/ 0 w 9071408"/>
                <a:gd name="connsiteY3" fmla="*/ 3623734 h 3623734"/>
                <a:gd name="connsiteX0" fmla="*/ 9073312 w 9073312"/>
                <a:gd name="connsiteY0" fmla="*/ 1547495 h 4437340"/>
                <a:gd name="connsiteX1" fmla="*/ 1661370 w 9073312"/>
                <a:gd name="connsiteY1" fmla="*/ 0 h 4437340"/>
                <a:gd name="connsiteX2" fmla="*/ 1904 w 9073312"/>
                <a:gd name="connsiteY2" fmla="*/ 0 h 4437340"/>
                <a:gd name="connsiteX3" fmla="*/ 0 w 9073312"/>
                <a:gd name="connsiteY3" fmla="*/ 4437340 h 4437340"/>
                <a:gd name="connsiteX0" fmla="*/ 9071408 w 9071408"/>
                <a:gd name="connsiteY0" fmla="*/ 1547495 h 4437340"/>
                <a:gd name="connsiteX1" fmla="*/ 1659466 w 9071408"/>
                <a:gd name="connsiteY1" fmla="*/ 0 h 4437340"/>
                <a:gd name="connsiteX2" fmla="*/ 0 w 9071408"/>
                <a:gd name="connsiteY2" fmla="*/ 0 h 4437340"/>
                <a:gd name="connsiteX3" fmla="*/ 0 w 9071408"/>
                <a:gd name="connsiteY3" fmla="*/ 4437340 h 4437340"/>
                <a:gd name="connsiteX0" fmla="*/ 8667864 w 8667864"/>
                <a:gd name="connsiteY0" fmla="*/ 1894278 h 4437340"/>
                <a:gd name="connsiteX1" fmla="*/ 1659466 w 8667864"/>
                <a:gd name="connsiteY1" fmla="*/ 0 h 4437340"/>
                <a:gd name="connsiteX2" fmla="*/ 0 w 8667864"/>
                <a:gd name="connsiteY2" fmla="*/ 0 h 4437340"/>
                <a:gd name="connsiteX3" fmla="*/ 0 w 8667864"/>
                <a:gd name="connsiteY3" fmla="*/ 4437340 h 4437340"/>
                <a:gd name="connsiteX0" fmla="*/ 8667864 w 8667864"/>
                <a:gd name="connsiteY0" fmla="*/ 1896183 h 4439245"/>
                <a:gd name="connsiteX1" fmla="*/ 2373282 w 8667864"/>
                <a:gd name="connsiteY1" fmla="*/ 0 h 4439245"/>
                <a:gd name="connsiteX2" fmla="*/ 0 w 8667864"/>
                <a:gd name="connsiteY2" fmla="*/ 1905 h 4439245"/>
                <a:gd name="connsiteX3" fmla="*/ 0 w 8667864"/>
                <a:gd name="connsiteY3" fmla="*/ 4439245 h 4439245"/>
                <a:gd name="connsiteX0" fmla="*/ 8671671 w 8671671"/>
                <a:gd name="connsiteY0" fmla="*/ 1894278 h 4439245"/>
                <a:gd name="connsiteX1" fmla="*/ 2373282 w 8671671"/>
                <a:gd name="connsiteY1" fmla="*/ 0 h 4439245"/>
                <a:gd name="connsiteX2" fmla="*/ 0 w 8671671"/>
                <a:gd name="connsiteY2" fmla="*/ 1905 h 4439245"/>
                <a:gd name="connsiteX3" fmla="*/ 0 w 8671671"/>
                <a:gd name="connsiteY3" fmla="*/ 4439245 h 4439245"/>
              </a:gdLst>
              <a:ahLst/>
              <a:cxnLst>
                <a:cxn ang="0">
                  <a:pos x="connsiteX0" y="connsiteY0"/>
                </a:cxn>
                <a:cxn ang="0">
                  <a:pos x="connsiteX1" y="connsiteY1"/>
                </a:cxn>
                <a:cxn ang="0">
                  <a:pos x="connsiteX2" y="connsiteY2"/>
                </a:cxn>
                <a:cxn ang="0">
                  <a:pos x="connsiteX3" y="connsiteY3"/>
                </a:cxn>
              </a:cxnLst>
              <a:rect l="l" t="t" r="r" b="b"/>
              <a:pathLst>
                <a:path w="8671671" h="4439245">
                  <a:moveTo>
                    <a:pt x="8671671" y="1894278"/>
                  </a:moveTo>
                  <a:lnTo>
                    <a:pt x="2373282" y="0"/>
                  </a:lnTo>
                  <a:lnTo>
                    <a:pt x="0" y="1905"/>
                  </a:lnTo>
                  <a:lnTo>
                    <a:pt x="0" y="4439245"/>
                  </a:lnTo>
                </a:path>
              </a:pathLst>
            </a:cu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pic>
          <p:nvPicPr>
            <p:cNvPr id="32" name="Obrázek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19849" y="1054894"/>
              <a:ext cx="1224000" cy="1622866"/>
            </a:xfrm>
            <a:prstGeom prst="rect">
              <a:avLst/>
            </a:prstGeom>
          </p:spPr>
        </p:pic>
      </p:grpSp>
      <p:graphicFrame>
        <p:nvGraphicFramePr>
          <p:cNvPr id="3" name="Objek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99" imgH="398" progId="TCLayout.ActiveDocument.1">
                  <p:embed/>
                </p:oleObj>
              </mc:Choice>
              <mc:Fallback>
                <p:oleObj name="think-cell Slide" r:id="rId5" imgW="399" imgH="398" progId="TCLayout.ActiveDocument.1">
                  <p:embed/>
                  <p:pic>
                    <p:nvPicPr>
                      <p:cNvPr id="3" name="Objekt 2"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Nadpis 6"/>
          <p:cNvSpPr>
            <a:spLocks noGrp="1"/>
          </p:cNvSpPr>
          <p:nvPr>
            <p:ph type="title" hasCustomPrompt="1"/>
          </p:nvPr>
        </p:nvSpPr>
        <p:spPr>
          <a:xfrm>
            <a:off x="342848" y="1638000"/>
            <a:ext cx="8278865" cy="540000"/>
          </a:xfrm>
        </p:spPr>
        <p:txBody>
          <a:bodyPr anchor="t" anchorCtr="0">
            <a:noAutofit/>
          </a:bodyPr>
          <a:lstStyle>
            <a:lvl1pPr>
              <a:lnSpc>
                <a:spcPts val="4400"/>
              </a:lnSpc>
              <a:defRPr sz="3600" cap="all" baseline="0">
                <a:solidFill>
                  <a:schemeClr val="bg1"/>
                </a:solidFill>
                <a:latin typeface="SKODA Next" panose="020B0504020603020204" pitchFamily="34" charset="0"/>
              </a:defRPr>
            </a:lvl1pPr>
          </a:lstStyle>
          <a:p>
            <a:r>
              <a:rPr lang="cs-CZ" noProof="0" dirty="0"/>
              <a:t>Název prezentace</a:t>
            </a:r>
          </a:p>
        </p:txBody>
      </p:sp>
      <p:sp>
        <p:nvSpPr>
          <p:cNvPr id="15" name="Zástupný symbol pro text 14"/>
          <p:cNvSpPr>
            <a:spLocks noGrp="1"/>
          </p:cNvSpPr>
          <p:nvPr>
            <p:ph type="body" sz="quarter" idx="13" hasCustomPrompt="1"/>
          </p:nvPr>
        </p:nvSpPr>
        <p:spPr>
          <a:xfrm>
            <a:off x="341948" y="5506843"/>
            <a:ext cx="5183231" cy="323932"/>
          </a:xfrm>
        </p:spPr>
        <p:txBody>
          <a:bodyPr vert="horz" lIns="0" tIns="0" rIns="0" bIns="0" rtlCol="0" anchor="b" anchorCtr="0">
            <a:noAutofit/>
          </a:bodyPr>
          <a:lstStyle>
            <a:lvl1pPr marL="180000" indent="-180000">
              <a:buNone/>
              <a:defRPr lang="cs-CZ" sz="2000" noProof="0" dirty="0">
                <a:solidFill>
                  <a:schemeClr val="bg1"/>
                </a:solidFill>
                <a:effectLst>
                  <a:glow rad="254000">
                    <a:schemeClr val="tx1">
                      <a:alpha val="34000"/>
                    </a:schemeClr>
                  </a:glow>
                </a:effectLst>
              </a:defRPr>
            </a:lvl1pPr>
          </a:lstStyle>
          <a:p>
            <a:pPr marL="0" lvl="0" indent="0">
              <a:lnSpc>
                <a:spcPts val="2400"/>
              </a:lnSpc>
            </a:pPr>
            <a:r>
              <a:rPr lang="cs-CZ" noProof="0" dirty="0"/>
              <a:t>Jméno</a:t>
            </a:r>
          </a:p>
        </p:txBody>
      </p:sp>
      <p:sp>
        <p:nvSpPr>
          <p:cNvPr id="17" name="Zástupný symbol pro text 16"/>
          <p:cNvSpPr>
            <a:spLocks noGrp="1"/>
          </p:cNvSpPr>
          <p:nvPr>
            <p:ph type="body" sz="quarter" idx="14" hasCustomPrompt="1"/>
          </p:nvPr>
        </p:nvSpPr>
        <p:spPr>
          <a:xfrm>
            <a:off x="341948" y="6298677"/>
            <a:ext cx="5183231" cy="323932"/>
          </a:xfrm>
        </p:spPr>
        <p:txBody>
          <a:bodyPr vert="horz" lIns="0" tIns="0" rIns="0" bIns="0" rtlCol="0" anchor="b" anchorCtr="0">
            <a:noAutofit/>
          </a:bodyPr>
          <a:lstStyle>
            <a:lvl1pPr marL="180000" indent="-180000">
              <a:buNone/>
              <a:defRPr lang="cs-CZ" sz="2000" noProof="0" dirty="0">
                <a:solidFill>
                  <a:schemeClr val="bg1"/>
                </a:solidFill>
                <a:effectLst>
                  <a:glow rad="254000">
                    <a:schemeClr val="tx1">
                      <a:alpha val="34000"/>
                    </a:schemeClr>
                  </a:glow>
                </a:effectLst>
              </a:defRPr>
            </a:lvl1pPr>
          </a:lstStyle>
          <a:p>
            <a:pPr marL="0" lvl="0" indent="0">
              <a:lnSpc>
                <a:spcPts val="2400"/>
              </a:lnSpc>
            </a:pPr>
            <a:r>
              <a:rPr lang="cs-CZ" sz="2000" noProof="0" dirty="0"/>
              <a:t>XX.XX.2017</a:t>
            </a:r>
            <a:endParaRPr lang="cs-CZ" noProof="0" dirty="0"/>
          </a:p>
        </p:txBody>
      </p:sp>
      <p:sp>
        <p:nvSpPr>
          <p:cNvPr id="19" name="Zástupný symbol pro text 18"/>
          <p:cNvSpPr>
            <a:spLocks noGrp="1"/>
          </p:cNvSpPr>
          <p:nvPr>
            <p:ph type="body" sz="quarter" idx="15" hasCustomPrompt="1"/>
          </p:nvPr>
        </p:nvSpPr>
        <p:spPr>
          <a:xfrm>
            <a:off x="342849" y="2358000"/>
            <a:ext cx="6550641" cy="719849"/>
          </a:xfrm>
        </p:spPr>
        <p:txBody>
          <a:bodyPr>
            <a:noAutofit/>
          </a:bodyPr>
          <a:lstStyle>
            <a:lvl1pPr marL="0" indent="0">
              <a:lnSpc>
                <a:spcPts val="2400"/>
              </a:lnSpc>
              <a:buFont typeface="Arial" panose="020B0604020202020204" pitchFamily="34" charset="0"/>
              <a:buNone/>
              <a:defRPr sz="2000">
                <a:solidFill>
                  <a:schemeClr val="bg1"/>
                </a:solidFill>
                <a:latin typeface="SKODA Next" panose="020B0504020603020204" pitchFamily="34" charset="0"/>
              </a:defRPr>
            </a:lvl1pPr>
          </a:lstStyle>
          <a:p>
            <a:pPr lvl="0"/>
            <a:r>
              <a:rPr lang="cs-CZ" noProof="0" dirty="0"/>
              <a:t>Dodatečné informace</a:t>
            </a:r>
          </a:p>
        </p:txBody>
      </p:sp>
      <p:sp>
        <p:nvSpPr>
          <p:cNvPr id="21" name="Zástupný symbol pro text 20"/>
          <p:cNvSpPr>
            <a:spLocks noGrp="1"/>
          </p:cNvSpPr>
          <p:nvPr>
            <p:ph type="body" sz="quarter" idx="16" hasCustomPrompt="1"/>
          </p:nvPr>
        </p:nvSpPr>
        <p:spPr>
          <a:xfrm>
            <a:off x="341949" y="5902760"/>
            <a:ext cx="5183231" cy="323932"/>
          </a:xfrm>
        </p:spPr>
        <p:txBody>
          <a:bodyPr vert="horz" lIns="0" tIns="0" rIns="0" bIns="0" rtlCol="0" anchor="b" anchorCtr="0">
            <a:noAutofit/>
          </a:bodyPr>
          <a:lstStyle>
            <a:lvl1pPr marL="180000" indent="-180000">
              <a:buNone/>
              <a:defRPr lang="cs-CZ" sz="2000" noProof="0" dirty="0">
                <a:solidFill>
                  <a:schemeClr val="bg1"/>
                </a:solidFill>
                <a:effectLst>
                  <a:glow rad="254000">
                    <a:schemeClr val="tx1">
                      <a:alpha val="34000"/>
                    </a:schemeClr>
                  </a:glow>
                </a:effectLst>
              </a:defRPr>
            </a:lvl1pPr>
          </a:lstStyle>
          <a:p>
            <a:pPr marL="0" lvl="0" indent="0">
              <a:lnSpc>
                <a:spcPts val="2400"/>
              </a:lnSpc>
            </a:pPr>
            <a:r>
              <a:rPr lang="cs-CZ" noProof="0" dirty="0"/>
              <a:t>Oddělení</a:t>
            </a:r>
          </a:p>
        </p:txBody>
      </p:sp>
      <p:sp>
        <p:nvSpPr>
          <p:cNvPr id="16" name="Zástupný symbol pro číslo snímku 5"/>
          <p:cNvSpPr>
            <a:spLocks noGrp="1"/>
          </p:cNvSpPr>
          <p:nvPr>
            <p:ph type="sldNum" sz="quarter" idx="10"/>
          </p:nvPr>
        </p:nvSpPr>
        <p:spPr>
          <a:xfrm>
            <a:off x="342849" y="7162496"/>
            <a:ext cx="269960" cy="179962"/>
          </a:xfrm>
        </p:spPr>
        <p:txBody>
          <a:bodyPr/>
          <a:lstStyle>
            <a:lvl1pPr>
              <a:defRPr>
                <a:noFill/>
                <a:latin typeface="SKODA Next" panose="020B0504020603020204" pitchFamily="34" charset="0"/>
              </a:defRPr>
            </a:lvl1pPr>
          </a:lstStyle>
          <a:p>
            <a:fld id="{1E956721-BB38-4972-8ACD-5A2C9377E3B4}" type="slidenum">
              <a:rPr lang="cs-CZ" smtClean="0"/>
              <a:pPr/>
              <a:t>‹#›</a:t>
            </a:fld>
            <a:endParaRPr lang="cs-CZ" dirty="0"/>
          </a:p>
        </p:txBody>
      </p:sp>
      <p:sp>
        <p:nvSpPr>
          <p:cNvPr id="22" name="Zástupný symbol pro zápatí 6"/>
          <p:cNvSpPr>
            <a:spLocks noGrp="1"/>
          </p:cNvSpPr>
          <p:nvPr>
            <p:ph type="ftr" sz="quarter" idx="11"/>
          </p:nvPr>
        </p:nvSpPr>
        <p:spPr>
          <a:xfrm>
            <a:off x="719894" y="7162496"/>
            <a:ext cx="6173596" cy="179962"/>
          </a:xfrm>
        </p:spPr>
        <p:txBody>
          <a:bodyPr/>
          <a:lstStyle>
            <a:lvl1pPr>
              <a:defRPr>
                <a:noFill/>
                <a:latin typeface="SKODA Next" panose="020B0504020603020204" pitchFamily="34" charset="0"/>
              </a:defRPr>
            </a:lvl1pPr>
          </a:lstStyle>
          <a:p>
            <a:endParaRPr lang="cs-CZ" dirty="0"/>
          </a:p>
        </p:txBody>
      </p:sp>
      <p:sp>
        <p:nvSpPr>
          <p:cNvPr id="18" name="TextovéPole 17"/>
          <p:cNvSpPr txBox="1"/>
          <p:nvPr userDrawn="1"/>
        </p:nvSpPr>
        <p:spPr>
          <a:xfrm>
            <a:off x="9720000" y="7358802"/>
            <a:ext cx="720000" cy="108000"/>
          </a:xfrm>
          <a:prstGeom prst="rect">
            <a:avLst/>
          </a:prstGeom>
          <a:noFill/>
        </p:spPr>
        <p:txBody>
          <a:bodyPr wrap="square" lIns="0" tIns="0" rIns="0" bIns="0" rtlCol="0" anchor="b" anchorCtr="0">
            <a:normAutofit/>
          </a:bodyPr>
          <a:lstStyle/>
          <a:p>
            <a:pPr algn="r"/>
            <a:r>
              <a:rPr lang="en-GB" sz="700" b="1" noProof="0" dirty="0">
                <a:solidFill>
                  <a:schemeClr val="bg1"/>
                </a:solidFill>
                <a:effectLst>
                  <a:glow rad="254000">
                    <a:schemeClr val="tx1">
                      <a:alpha val="34000"/>
                    </a:schemeClr>
                  </a:glow>
                </a:effectLst>
                <a:latin typeface="SKODA Next" panose="020B0504020603020204" pitchFamily="34" charset="0"/>
                <a:cs typeface="Arial" panose="020B0604020202020204" pitchFamily="34" charset="0"/>
              </a:rPr>
              <a:t>CONFIDENTIAL</a:t>
            </a:r>
          </a:p>
        </p:txBody>
      </p:sp>
    </p:spTree>
    <p:extLst>
      <p:ext uri="{BB962C8B-B14F-4D97-AF65-F5344CB8AC3E}">
        <p14:creationId xmlns:p14="http://schemas.microsoft.com/office/powerpoint/2010/main" val="25490593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3" name="Zástupný symbol pro obsah 2"/>
          <p:cNvSpPr>
            <a:spLocks noGrp="1"/>
          </p:cNvSpPr>
          <p:nvPr>
            <p:ph idx="1" hasCustomPrompt="1"/>
          </p:nvPr>
        </p:nvSpPr>
        <p:spPr>
          <a:xfrm>
            <a:off x="342850" y="1439561"/>
            <a:ext cx="10006115"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29"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0" name="Nadpis 29"/>
          <p:cNvSpPr>
            <a:spLocks noGrp="1"/>
          </p:cNvSpPr>
          <p:nvPr>
            <p:ph type="title" hasCustomPrompt="1"/>
          </p:nvPr>
        </p:nvSpPr>
        <p:spPr/>
        <p:txBody>
          <a:bodyPr/>
          <a:lstStyle>
            <a:lvl1pPr>
              <a:defRPr/>
            </a:lvl1pPr>
          </a:lstStyle>
          <a:p>
            <a:r>
              <a:rPr lang="cs-CZ" noProof="0" dirty="0"/>
              <a:t>Nadpis (shrnutí stránky)</a:t>
            </a:r>
          </a:p>
        </p:txBody>
      </p:sp>
    </p:spTree>
    <p:extLst>
      <p:ext uri="{BB962C8B-B14F-4D97-AF65-F5344CB8AC3E}">
        <p14:creationId xmlns:p14="http://schemas.microsoft.com/office/powerpoint/2010/main" val="3905308653"/>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3" name="Zástupný symbol pro obsah 2"/>
          <p:cNvSpPr>
            <a:spLocks noGrp="1"/>
          </p:cNvSpPr>
          <p:nvPr>
            <p:ph idx="1" hasCustomPrompt="1"/>
          </p:nvPr>
        </p:nvSpPr>
        <p:spPr>
          <a:xfrm>
            <a:off x="342851" y="1439561"/>
            <a:ext cx="4823697"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29"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0" name="Nadpis 29"/>
          <p:cNvSpPr>
            <a:spLocks noGrp="1"/>
          </p:cNvSpPr>
          <p:nvPr>
            <p:ph type="title" hasCustomPrompt="1"/>
          </p:nvPr>
        </p:nvSpPr>
        <p:spPr/>
        <p:txBody>
          <a:bodyPr/>
          <a:lstStyle>
            <a:lvl1pPr>
              <a:defRPr/>
            </a:lvl1pPr>
          </a:lstStyle>
          <a:p>
            <a:r>
              <a:rPr lang="cs-CZ" noProof="0" dirty="0"/>
              <a:t>Nadpis (shrnutí stránky)</a:t>
            </a:r>
          </a:p>
        </p:txBody>
      </p:sp>
      <p:sp>
        <p:nvSpPr>
          <p:cNvPr id="9" name="Zástupný symbol pro obsah 2"/>
          <p:cNvSpPr>
            <a:spLocks noGrp="1"/>
          </p:cNvSpPr>
          <p:nvPr>
            <p:ph idx="13" hasCustomPrompt="1"/>
          </p:nvPr>
        </p:nvSpPr>
        <p:spPr>
          <a:xfrm>
            <a:off x="5525268" y="1439561"/>
            <a:ext cx="4823697"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Tree>
    <p:extLst>
      <p:ext uri="{BB962C8B-B14F-4D97-AF65-F5344CB8AC3E}">
        <p14:creationId xmlns:p14="http://schemas.microsoft.com/office/powerpoint/2010/main" val="2848749458"/>
      </p:ext>
    </p:extLst>
  </p:cSld>
  <p:clrMapOvr>
    <a:masterClrMapping/>
  </p:clrMapOvr>
  <p:extLst>
    <p:ext uri="{DCECCB84-F9BA-43D5-87BE-67443E8EF086}">
      <p15:sldGuideLst xmlns:p15="http://schemas.microsoft.com/office/powerpoint/2012/main">
        <p15:guide id="1" pos="3368"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ntents">
    <p:spTree>
      <p:nvGrpSpPr>
        <p:cNvPr id="1" name=""/>
        <p:cNvGrpSpPr/>
        <p:nvPr/>
      </p:nvGrpSpPr>
      <p:grpSpPr>
        <a:xfrm>
          <a:off x="0" y="0"/>
          <a:ext cx="0" cy="0"/>
          <a:chOff x="0" y="0"/>
          <a:chExt cx="0" cy="0"/>
        </a:xfrm>
      </p:grpSpPr>
      <p:sp>
        <p:nvSpPr>
          <p:cNvPr id="3" name="Zástupný symbol pro obsah 2"/>
          <p:cNvSpPr>
            <a:spLocks noGrp="1"/>
          </p:cNvSpPr>
          <p:nvPr>
            <p:ph idx="1" hasCustomPrompt="1"/>
          </p:nvPr>
        </p:nvSpPr>
        <p:spPr>
          <a:xfrm>
            <a:off x="342849" y="1439561"/>
            <a:ext cx="3095166"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29"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0" name="Nadpis 29"/>
          <p:cNvSpPr>
            <a:spLocks noGrp="1"/>
          </p:cNvSpPr>
          <p:nvPr>
            <p:ph type="title" hasCustomPrompt="1"/>
          </p:nvPr>
        </p:nvSpPr>
        <p:spPr/>
        <p:txBody>
          <a:bodyPr/>
          <a:lstStyle>
            <a:lvl1pPr>
              <a:defRPr/>
            </a:lvl1pPr>
          </a:lstStyle>
          <a:p>
            <a:r>
              <a:rPr lang="cs-CZ" noProof="0" dirty="0"/>
              <a:t>Nadpis (shrnutí stránky)</a:t>
            </a:r>
          </a:p>
        </p:txBody>
      </p:sp>
      <p:sp>
        <p:nvSpPr>
          <p:cNvPr id="10" name="Zástupný symbol pro obsah 2"/>
          <p:cNvSpPr>
            <a:spLocks noGrp="1"/>
          </p:cNvSpPr>
          <p:nvPr>
            <p:ph idx="13" hasCustomPrompt="1"/>
          </p:nvPr>
        </p:nvSpPr>
        <p:spPr>
          <a:xfrm>
            <a:off x="3798324" y="1439561"/>
            <a:ext cx="3095166"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11" name="Zástupný symbol pro obsah 2"/>
          <p:cNvSpPr>
            <a:spLocks noGrp="1"/>
          </p:cNvSpPr>
          <p:nvPr>
            <p:ph idx="14" hasCustomPrompt="1"/>
          </p:nvPr>
        </p:nvSpPr>
        <p:spPr>
          <a:xfrm>
            <a:off x="7253800" y="1439561"/>
            <a:ext cx="3095166"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Tree>
    <p:extLst>
      <p:ext uri="{BB962C8B-B14F-4D97-AF65-F5344CB8AC3E}">
        <p14:creationId xmlns:p14="http://schemas.microsoft.com/office/powerpoint/2010/main" val="1268817968"/>
      </p:ext>
    </p:extLst>
  </p:cSld>
  <p:clrMapOvr>
    <a:masterClrMapping/>
  </p:clrMapOvr>
  <p:extLst>
    <p:ext uri="{DCECCB84-F9BA-43D5-87BE-67443E8EF086}">
      <p15:sldGuideLst xmlns:p15="http://schemas.microsoft.com/office/powerpoint/2012/main">
        <p15:guide id="1" pos="3368"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9" name="Zástupný symbol pro text 8"/>
          <p:cNvSpPr>
            <a:spLocks noGrp="1"/>
          </p:cNvSpPr>
          <p:nvPr>
            <p:ph type="body" sz="quarter" idx="12" hasCustomPrompt="1"/>
          </p:nvPr>
        </p:nvSpPr>
        <p:spPr>
          <a:xfrm>
            <a:off x="341950" y="1439560"/>
            <a:ext cx="3096065" cy="5183048"/>
          </a:xfrm>
        </p:spPr>
        <p:txBody>
          <a:bodyPr/>
          <a:lstStyle>
            <a:lvl1pPr>
              <a:defRPr>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11" name="Zástupný symbol pro obrázek 10"/>
          <p:cNvSpPr>
            <a:spLocks noGrp="1"/>
          </p:cNvSpPr>
          <p:nvPr>
            <p:ph type="pic" sz="quarter" idx="13" hasCustomPrompt="1"/>
          </p:nvPr>
        </p:nvSpPr>
        <p:spPr>
          <a:xfrm>
            <a:off x="3797436" y="1439560"/>
            <a:ext cx="6551028" cy="5183048"/>
          </a:xfrm>
        </p:spPr>
        <p:txBody>
          <a:bodyPr/>
          <a:lstStyle>
            <a:lvl1pPr algn="l">
              <a:buFontTx/>
              <a:buNone/>
              <a:defRPr>
                <a:latin typeface="SKODA Next" panose="020B0504020603020204" pitchFamily="34" charset="0"/>
              </a:defRPr>
            </a:lvl1pPr>
          </a:lstStyle>
          <a:p>
            <a:r>
              <a:rPr lang="cs-CZ" noProof="0" dirty="0"/>
              <a:t>Obrázek</a:t>
            </a:r>
          </a:p>
        </p:txBody>
      </p:sp>
      <p:sp>
        <p:nvSpPr>
          <p:cNvPr id="15" name="Zástupný symbol pro text 28"/>
          <p:cNvSpPr>
            <a:spLocks noGrp="1"/>
          </p:cNvSpPr>
          <p:nvPr>
            <p:ph type="body" sz="quarter" idx="14"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4" name="Nadpis 3"/>
          <p:cNvSpPr>
            <a:spLocks noGrp="1"/>
          </p:cNvSpPr>
          <p:nvPr>
            <p:ph type="title" hasCustomPrompt="1"/>
          </p:nvPr>
        </p:nvSpPr>
        <p:spPr/>
        <p:txBody>
          <a:bodyPr/>
          <a:lstStyle>
            <a:lvl1pPr>
              <a:defRPr/>
            </a:lvl1pPr>
          </a:lstStyle>
          <a:p>
            <a:r>
              <a:rPr lang="cs-CZ" noProof="0" dirty="0"/>
              <a:t>Nadpis (shrnutí stránky)</a:t>
            </a:r>
          </a:p>
        </p:txBody>
      </p:sp>
    </p:spTree>
    <p:extLst>
      <p:ext uri="{BB962C8B-B14F-4D97-AF65-F5344CB8AC3E}">
        <p14:creationId xmlns:p14="http://schemas.microsoft.com/office/powerpoint/2010/main" val="38652397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11" name="Zástupný symbol pro obrázek 10"/>
          <p:cNvSpPr>
            <a:spLocks noGrp="1"/>
          </p:cNvSpPr>
          <p:nvPr>
            <p:ph type="pic" sz="quarter" idx="13" hasCustomPrompt="1"/>
          </p:nvPr>
        </p:nvSpPr>
        <p:spPr>
          <a:xfrm>
            <a:off x="341949" y="1439562"/>
            <a:ext cx="10006515" cy="5183685"/>
          </a:xfrm>
        </p:spPr>
        <p:txBody>
          <a:bodyPr/>
          <a:lstStyle>
            <a:lvl1pPr algn="l">
              <a:buFontTx/>
              <a:buNone/>
              <a:defRPr>
                <a:latin typeface="SKODA Next" panose="020B0504020603020204" pitchFamily="34" charset="0"/>
              </a:defRPr>
            </a:lvl1pPr>
          </a:lstStyle>
          <a:p>
            <a:r>
              <a:rPr lang="cs-CZ" noProof="0" dirty="0"/>
              <a:t>Obrázek</a:t>
            </a:r>
          </a:p>
        </p:txBody>
      </p:sp>
      <p:sp>
        <p:nvSpPr>
          <p:cNvPr id="13"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2" name="Nadpis 1"/>
          <p:cNvSpPr>
            <a:spLocks noGrp="1"/>
          </p:cNvSpPr>
          <p:nvPr>
            <p:ph type="title" hasCustomPrompt="1"/>
          </p:nvPr>
        </p:nvSpPr>
        <p:spPr/>
        <p:txBody>
          <a:bodyPr/>
          <a:lstStyle>
            <a:lvl1pPr>
              <a:defRPr/>
            </a:lvl1pPr>
          </a:lstStyle>
          <a:p>
            <a:r>
              <a:rPr lang="cs-CZ" noProof="0" dirty="0"/>
              <a:t>Nadpis (shrnutí stránky)</a:t>
            </a:r>
          </a:p>
        </p:txBody>
      </p:sp>
    </p:spTree>
    <p:extLst>
      <p:ext uri="{BB962C8B-B14F-4D97-AF65-F5344CB8AC3E}">
        <p14:creationId xmlns:p14="http://schemas.microsoft.com/office/powerpoint/2010/main" val="27520210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with Header">
    <p:spTree>
      <p:nvGrpSpPr>
        <p:cNvPr id="1" name=""/>
        <p:cNvGrpSpPr/>
        <p:nvPr/>
      </p:nvGrpSpPr>
      <p:grpSpPr>
        <a:xfrm>
          <a:off x="0" y="0"/>
          <a:ext cx="0" cy="0"/>
          <a:chOff x="0" y="0"/>
          <a:chExt cx="0" cy="0"/>
        </a:xfrm>
      </p:grpSpPr>
      <p:sp>
        <p:nvSpPr>
          <p:cNvPr id="11" name="Zástupný symbol pro obrázek 10"/>
          <p:cNvSpPr>
            <a:spLocks noGrp="1"/>
          </p:cNvSpPr>
          <p:nvPr>
            <p:ph type="pic" sz="quarter" idx="13" hasCustomPrompt="1"/>
          </p:nvPr>
        </p:nvSpPr>
        <p:spPr>
          <a:xfrm>
            <a:off x="1" y="0"/>
            <a:ext cx="10691813" cy="6964537"/>
          </a:xfrm>
        </p:spPr>
        <p:txBody>
          <a:bodyPr/>
          <a:lstStyle>
            <a:lvl1pPr algn="l">
              <a:buFontTx/>
              <a:buNone/>
              <a:defRPr>
                <a:latin typeface="SKODA Next" panose="020B0504020603020204" pitchFamily="34" charset="0"/>
              </a:defRPr>
            </a:lvl1pPr>
          </a:lstStyle>
          <a:p>
            <a:r>
              <a:rPr lang="cs-CZ" noProof="0" dirty="0"/>
              <a:t>Obrázek</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Tree>
    <p:extLst>
      <p:ext uri="{BB962C8B-B14F-4D97-AF65-F5344CB8AC3E}">
        <p14:creationId xmlns:p14="http://schemas.microsoft.com/office/powerpoint/2010/main" val="8655594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3" name="Zástupný symbol pro obsah 2"/>
          <p:cNvSpPr>
            <a:spLocks noGrp="1"/>
          </p:cNvSpPr>
          <p:nvPr>
            <p:ph idx="1" hasCustomPrompt="1"/>
          </p:nvPr>
        </p:nvSpPr>
        <p:spPr>
          <a:xfrm>
            <a:off x="342851" y="1439561"/>
            <a:ext cx="4823697"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29"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0" name="Nadpis 29"/>
          <p:cNvSpPr>
            <a:spLocks noGrp="1"/>
          </p:cNvSpPr>
          <p:nvPr>
            <p:ph type="title" hasCustomPrompt="1"/>
          </p:nvPr>
        </p:nvSpPr>
        <p:spPr/>
        <p:txBody>
          <a:bodyPr/>
          <a:lstStyle>
            <a:lvl1pPr>
              <a:defRPr/>
            </a:lvl1pPr>
          </a:lstStyle>
          <a:p>
            <a:r>
              <a:rPr lang="cs-CZ" noProof="0" dirty="0"/>
              <a:t>Nadpis (shrnutí stránky)</a:t>
            </a:r>
          </a:p>
        </p:txBody>
      </p:sp>
      <p:sp>
        <p:nvSpPr>
          <p:cNvPr id="9" name="Zástupný symbol pro obsah 2"/>
          <p:cNvSpPr>
            <a:spLocks noGrp="1"/>
          </p:cNvSpPr>
          <p:nvPr>
            <p:ph idx="13" hasCustomPrompt="1"/>
          </p:nvPr>
        </p:nvSpPr>
        <p:spPr>
          <a:xfrm>
            <a:off x="5525268" y="1439561"/>
            <a:ext cx="4823697"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Tree>
    <p:extLst>
      <p:ext uri="{BB962C8B-B14F-4D97-AF65-F5344CB8AC3E}">
        <p14:creationId xmlns:p14="http://schemas.microsoft.com/office/powerpoint/2010/main" val="1470826287"/>
      </p:ext>
    </p:extLst>
  </p:cSld>
  <p:clrMapOvr>
    <a:masterClrMapping/>
  </p:clrMapOvr>
  <p:extLst>
    <p:ext uri="{DCECCB84-F9BA-43D5-87BE-67443E8EF086}">
      <p15:sldGuideLst xmlns:p15="http://schemas.microsoft.com/office/powerpoint/2012/main">
        <p15:guide id="1" pos="336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utli Picture">
    <p:spTree>
      <p:nvGrpSpPr>
        <p:cNvPr id="1" name=""/>
        <p:cNvGrpSpPr/>
        <p:nvPr/>
      </p:nvGrpSpPr>
      <p:grpSpPr>
        <a:xfrm>
          <a:off x="0" y="0"/>
          <a:ext cx="0" cy="0"/>
          <a:chOff x="0" y="0"/>
          <a:chExt cx="0" cy="0"/>
        </a:xfrm>
      </p:grpSpPr>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11" name="Zástupný symbol pro obrázek 10"/>
          <p:cNvSpPr>
            <a:spLocks noGrp="1"/>
          </p:cNvSpPr>
          <p:nvPr>
            <p:ph type="pic" sz="quarter" idx="13" hasCustomPrompt="1"/>
          </p:nvPr>
        </p:nvSpPr>
        <p:spPr>
          <a:xfrm>
            <a:off x="342850" y="1439699"/>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3" name="Zástupný symbol pro text 12"/>
          <p:cNvSpPr>
            <a:spLocks noGrp="1"/>
          </p:cNvSpPr>
          <p:nvPr>
            <p:ph type="body" sz="quarter" idx="14" hasCustomPrompt="1"/>
          </p:nvPr>
        </p:nvSpPr>
        <p:spPr>
          <a:xfrm>
            <a:off x="342850" y="3743214"/>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14" name="Zástupný symbol pro obrázek 10"/>
          <p:cNvSpPr>
            <a:spLocks noGrp="1"/>
          </p:cNvSpPr>
          <p:nvPr>
            <p:ph type="pic" sz="quarter" idx="15" hasCustomPrompt="1"/>
          </p:nvPr>
        </p:nvSpPr>
        <p:spPr>
          <a:xfrm>
            <a:off x="342850" y="4139332"/>
            <a:ext cx="4823696" cy="2231331"/>
          </a:xfrm>
        </p:spPr>
        <p:txBody>
          <a:bodyPr/>
          <a:lstStyle>
            <a:lvl1pPr algn="l">
              <a:buFontTx/>
              <a:buNone/>
              <a:defRPr>
                <a:latin typeface="SKODA Next" panose="020B0504020603020204" pitchFamily="34" charset="0"/>
              </a:defRPr>
            </a:lvl1pPr>
          </a:lstStyle>
          <a:p>
            <a:r>
              <a:rPr lang="cs-CZ" noProof="0" dirty="0"/>
              <a:t>Obrázek</a:t>
            </a:r>
          </a:p>
        </p:txBody>
      </p:sp>
      <p:sp>
        <p:nvSpPr>
          <p:cNvPr id="15" name="Zástupný symbol pro text 12"/>
          <p:cNvSpPr>
            <a:spLocks noGrp="1"/>
          </p:cNvSpPr>
          <p:nvPr>
            <p:ph type="body" sz="quarter" idx="16" hasCustomPrompt="1"/>
          </p:nvPr>
        </p:nvSpPr>
        <p:spPr>
          <a:xfrm>
            <a:off x="342850" y="6442647"/>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16" name="Zástupný symbol pro obrázek 10"/>
          <p:cNvSpPr>
            <a:spLocks noGrp="1"/>
          </p:cNvSpPr>
          <p:nvPr>
            <p:ph type="pic" sz="quarter" idx="17" hasCustomPrompt="1"/>
          </p:nvPr>
        </p:nvSpPr>
        <p:spPr>
          <a:xfrm>
            <a:off x="5525268" y="1439699"/>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7" name="Zástupný symbol pro text 12"/>
          <p:cNvSpPr>
            <a:spLocks noGrp="1"/>
          </p:cNvSpPr>
          <p:nvPr>
            <p:ph type="body" sz="quarter" idx="18" hasCustomPrompt="1"/>
          </p:nvPr>
        </p:nvSpPr>
        <p:spPr>
          <a:xfrm>
            <a:off x="5525268" y="3743214"/>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18" name="Zástupný symbol pro obrázek 10"/>
          <p:cNvSpPr>
            <a:spLocks noGrp="1"/>
          </p:cNvSpPr>
          <p:nvPr>
            <p:ph type="pic" sz="quarter" idx="19" hasCustomPrompt="1"/>
          </p:nvPr>
        </p:nvSpPr>
        <p:spPr>
          <a:xfrm>
            <a:off x="5525268" y="4139332"/>
            <a:ext cx="4823696" cy="2231331"/>
          </a:xfrm>
        </p:spPr>
        <p:txBody>
          <a:bodyPr/>
          <a:lstStyle>
            <a:lvl1pPr algn="l">
              <a:buFontTx/>
              <a:buNone/>
              <a:defRPr>
                <a:latin typeface="SKODA Next" panose="020B0504020603020204" pitchFamily="34" charset="0"/>
              </a:defRPr>
            </a:lvl1pPr>
          </a:lstStyle>
          <a:p>
            <a:r>
              <a:rPr lang="cs-CZ" noProof="0" dirty="0"/>
              <a:t>Obrázek</a:t>
            </a:r>
          </a:p>
        </p:txBody>
      </p:sp>
      <p:sp>
        <p:nvSpPr>
          <p:cNvPr id="19" name="Zástupný symbol pro text 12"/>
          <p:cNvSpPr>
            <a:spLocks noGrp="1"/>
          </p:cNvSpPr>
          <p:nvPr>
            <p:ph type="body" sz="quarter" idx="20" hasCustomPrompt="1"/>
          </p:nvPr>
        </p:nvSpPr>
        <p:spPr>
          <a:xfrm>
            <a:off x="5525268" y="6442647"/>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24"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2" name="Nadpis 1"/>
          <p:cNvSpPr>
            <a:spLocks noGrp="1"/>
          </p:cNvSpPr>
          <p:nvPr>
            <p:ph type="title" hasCustomPrompt="1"/>
          </p:nvPr>
        </p:nvSpPr>
        <p:spPr/>
        <p:txBody>
          <a:bodyPr/>
          <a:lstStyle>
            <a:lvl1pPr>
              <a:defRPr/>
            </a:lvl1pPr>
          </a:lstStyle>
          <a:p>
            <a:r>
              <a:rPr lang="cs-CZ" noProof="0" dirty="0"/>
              <a:t>Nadpis (shrnutí stránky)</a:t>
            </a:r>
          </a:p>
        </p:txBody>
      </p:sp>
    </p:spTree>
    <p:extLst>
      <p:ext uri="{BB962C8B-B14F-4D97-AF65-F5344CB8AC3E}">
        <p14:creationId xmlns:p14="http://schemas.microsoft.com/office/powerpoint/2010/main" val="7968176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ext Chapter">
    <p:spTree>
      <p:nvGrpSpPr>
        <p:cNvPr id="1" name=""/>
        <p:cNvGrpSpPr/>
        <p:nvPr/>
      </p:nvGrpSpPr>
      <p:grpSpPr>
        <a:xfrm>
          <a:off x="0" y="0"/>
          <a:ext cx="0" cy="0"/>
          <a:chOff x="0" y="0"/>
          <a:chExt cx="0" cy="0"/>
        </a:xfrm>
      </p:grpSpPr>
      <p:sp>
        <p:nvSpPr>
          <p:cNvPr id="6" name="Zástupný symbol pro číslo snímku 5"/>
          <p:cNvSpPr>
            <a:spLocks noGrp="1"/>
          </p:cNvSpPr>
          <p:nvPr>
            <p:ph type="sldNum" sz="quarter" idx="10"/>
          </p:nvPr>
        </p:nvSpPr>
        <p:spPr/>
        <p:txBody>
          <a:bodyPr/>
          <a:lstStyle>
            <a:lvl1pPr>
              <a:defRPr>
                <a:solidFill>
                  <a:schemeClr val="tx1"/>
                </a:solidFill>
                <a:latin typeface="SKODA Next" panose="020B0504020603020204" pitchFamily="34" charset="0"/>
              </a:defRPr>
            </a:lvl1pPr>
          </a:lstStyle>
          <a:p>
            <a:fld id="{1E956721-BB38-4972-8ACD-5A2C9377E3B4}" type="slidenum">
              <a:rPr lang="cs-CZ" smtClean="0"/>
              <a:pPr/>
              <a:t>‹#›</a:t>
            </a:fld>
            <a:endParaRPr lang="cs-CZ" dirty="0"/>
          </a:p>
        </p:txBody>
      </p:sp>
      <p:sp>
        <p:nvSpPr>
          <p:cNvPr id="7" name="Zástupný symbol pro zápatí 6"/>
          <p:cNvSpPr>
            <a:spLocks noGrp="1"/>
          </p:cNvSpPr>
          <p:nvPr>
            <p:ph type="ftr" sz="quarter" idx="11"/>
          </p:nvPr>
        </p:nvSpPr>
        <p:spPr/>
        <p:txBody>
          <a:bodyPr/>
          <a:lstStyle>
            <a:lvl1pPr>
              <a:defRPr>
                <a:solidFill>
                  <a:schemeClr val="tx1"/>
                </a:solidFill>
                <a:latin typeface="SKODA Next" panose="020B0504020603020204" pitchFamily="34" charset="0"/>
              </a:defRPr>
            </a:lvl1pPr>
          </a:lstStyle>
          <a:p>
            <a:endParaRPr lang="cs-CZ" dirty="0"/>
          </a:p>
        </p:txBody>
      </p:sp>
      <p:sp>
        <p:nvSpPr>
          <p:cNvPr id="10"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 name="Nadpis 2"/>
          <p:cNvSpPr>
            <a:spLocks noGrp="1"/>
          </p:cNvSpPr>
          <p:nvPr>
            <p:ph type="title" hasCustomPrompt="1"/>
          </p:nvPr>
        </p:nvSpPr>
        <p:spPr/>
        <p:txBody>
          <a:bodyPr/>
          <a:lstStyle>
            <a:lvl1pPr>
              <a:defRPr baseline="0"/>
            </a:lvl1pPr>
          </a:lstStyle>
          <a:p>
            <a:r>
              <a:rPr lang="cs-CZ" noProof="0" dirty="0"/>
              <a:t>Další kapitola</a:t>
            </a:r>
          </a:p>
        </p:txBody>
      </p:sp>
    </p:spTree>
    <p:extLst>
      <p:ext uri="{BB962C8B-B14F-4D97-AF65-F5344CB8AC3E}">
        <p14:creationId xmlns:p14="http://schemas.microsoft.com/office/powerpoint/2010/main" val="2787003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Dar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20" name="Skupina 19"/>
          <p:cNvGrpSpPr/>
          <p:nvPr userDrawn="1"/>
        </p:nvGrpSpPr>
        <p:grpSpPr>
          <a:xfrm>
            <a:off x="-1" y="-1905"/>
            <a:ext cx="10691994" cy="5870435"/>
            <a:chOff x="-1" y="-1905"/>
            <a:chExt cx="10691994" cy="5870435"/>
          </a:xfrm>
        </p:grpSpPr>
        <p:sp>
          <p:nvSpPr>
            <p:cNvPr id="28" name="Volný tvar 27"/>
            <p:cNvSpPr/>
            <p:nvPr userDrawn="1"/>
          </p:nvSpPr>
          <p:spPr>
            <a:xfrm>
              <a:off x="8671948" y="0"/>
              <a:ext cx="2019872" cy="3165168"/>
            </a:xfrm>
            <a:custGeom>
              <a:avLst/>
              <a:gdLst>
                <a:gd name="connsiteX0" fmla="*/ 1600200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5886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7782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9678 w 1609678"/>
                <a:gd name="connsiteY0" fmla="*/ 0 h 2472267"/>
                <a:gd name="connsiteX1" fmla="*/ 711200 w 1609678"/>
                <a:gd name="connsiteY1" fmla="*/ 0 h 2472267"/>
                <a:gd name="connsiteX2" fmla="*/ 0 w 1609678"/>
                <a:gd name="connsiteY2" fmla="*/ 1549400 h 2472267"/>
                <a:gd name="connsiteX3" fmla="*/ 465666 w 1609678"/>
                <a:gd name="connsiteY3" fmla="*/ 2472267 h 2472267"/>
                <a:gd name="connsiteX4" fmla="*/ 1608666 w 1609678"/>
                <a:gd name="connsiteY4" fmla="*/ 2472267 h 2472267"/>
                <a:gd name="connsiteX0" fmla="*/ 1609678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4 w 1611574"/>
                <a:gd name="connsiteY0" fmla="*/ 0 h 2472267"/>
                <a:gd name="connsiteX1" fmla="*/ 711200 w 1611574"/>
                <a:gd name="connsiteY1" fmla="*/ 0 h 2472267"/>
                <a:gd name="connsiteX2" fmla="*/ 0 w 1611574"/>
                <a:gd name="connsiteY2" fmla="*/ 1549400 h 2472267"/>
                <a:gd name="connsiteX3" fmla="*/ 465666 w 1611574"/>
                <a:gd name="connsiteY3" fmla="*/ 2472267 h 2472267"/>
                <a:gd name="connsiteX4" fmla="*/ 1610561 w 1611574"/>
                <a:gd name="connsiteY4" fmla="*/ 2472267 h 2472267"/>
                <a:gd name="connsiteX0" fmla="*/ 1609679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5 w 1611575"/>
                <a:gd name="connsiteY0" fmla="*/ 0 h 2472267"/>
                <a:gd name="connsiteX1" fmla="*/ 711200 w 1611575"/>
                <a:gd name="connsiteY1" fmla="*/ 0 h 2472267"/>
                <a:gd name="connsiteX2" fmla="*/ 0 w 1611575"/>
                <a:gd name="connsiteY2" fmla="*/ 1549400 h 2472267"/>
                <a:gd name="connsiteX3" fmla="*/ 465666 w 1611575"/>
                <a:gd name="connsiteY3" fmla="*/ 2472267 h 2472267"/>
                <a:gd name="connsiteX4" fmla="*/ 1610561 w 1611575"/>
                <a:gd name="connsiteY4" fmla="*/ 2472267 h 2472267"/>
                <a:gd name="connsiteX0" fmla="*/ 1609680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3995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9681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7 w 1611577"/>
                <a:gd name="connsiteY0" fmla="*/ 0 h 2472267"/>
                <a:gd name="connsiteX1" fmla="*/ 711200 w 1611577"/>
                <a:gd name="connsiteY1" fmla="*/ 0 h 2472267"/>
                <a:gd name="connsiteX2" fmla="*/ 0 w 1611577"/>
                <a:gd name="connsiteY2" fmla="*/ 1549400 h 2472267"/>
                <a:gd name="connsiteX3" fmla="*/ 465666 w 1611577"/>
                <a:gd name="connsiteY3" fmla="*/ 2472267 h 2472267"/>
                <a:gd name="connsiteX4" fmla="*/ 1610561 w 1611577"/>
                <a:gd name="connsiteY4" fmla="*/ 2472267 h 2472267"/>
                <a:gd name="connsiteX0" fmla="*/ 1609682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7787 w 1608666"/>
                <a:gd name="connsiteY0" fmla="*/ 0 h 2472267"/>
                <a:gd name="connsiteX1" fmla="*/ 709305 w 1608666"/>
                <a:gd name="connsiteY1" fmla="*/ 0 h 2472267"/>
                <a:gd name="connsiteX2" fmla="*/ 0 w 1608666"/>
                <a:gd name="connsiteY2" fmla="*/ 1549400 h 2472267"/>
                <a:gd name="connsiteX3" fmla="*/ 463771 w 1608666"/>
                <a:gd name="connsiteY3" fmla="*/ 2472267 h 2472267"/>
                <a:gd name="connsiteX4" fmla="*/ 1608666 w 1608666"/>
                <a:gd name="connsiteY4" fmla="*/ 2472267 h 2472267"/>
                <a:gd name="connsiteX0" fmla="*/ 1603996 w 1604875"/>
                <a:gd name="connsiteY0" fmla="*/ 0 h 2472267"/>
                <a:gd name="connsiteX1" fmla="*/ 705514 w 1604875"/>
                <a:gd name="connsiteY1" fmla="*/ 0 h 2472267"/>
                <a:gd name="connsiteX2" fmla="*/ 0 w 1604875"/>
                <a:gd name="connsiteY2" fmla="*/ 1549400 h 2472267"/>
                <a:gd name="connsiteX3" fmla="*/ 459980 w 1604875"/>
                <a:gd name="connsiteY3" fmla="*/ 2472267 h 2472267"/>
                <a:gd name="connsiteX4" fmla="*/ 1604875 w 1604875"/>
                <a:gd name="connsiteY4" fmla="*/ 2472267 h 2472267"/>
                <a:gd name="connsiteX0" fmla="*/ 1603996 w 1604875"/>
                <a:gd name="connsiteY0" fmla="*/ 1905 h 2474172"/>
                <a:gd name="connsiteX1" fmla="*/ 457229 w 1604875"/>
                <a:gd name="connsiteY1" fmla="*/ 0 h 2474172"/>
                <a:gd name="connsiteX2" fmla="*/ 0 w 1604875"/>
                <a:gd name="connsiteY2" fmla="*/ 1551305 h 2474172"/>
                <a:gd name="connsiteX3" fmla="*/ 459980 w 1604875"/>
                <a:gd name="connsiteY3" fmla="*/ 2474172 h 2474172"/>
                <a:gd name="connsiteX4" fmla="*/ 1604875 w 1604875"/>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5576 w 2010471"/>
                <a:gd name="connsiteY3" fmla="*/ 2474172 h 2474172"/>
                <a:gd name="connsiteX4" fmla="*/ 2010471 w 2010471"/>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7472 w 2010471"/>
                <a:gd name="connsiteY3" fmla="*/ 2474172 h 2474172"/>
                <a:gd name="connsiteX4" fmla="*/ 2010471 w 2010471"/>
                <a:gd name="connsiteY4" fmla="*/ 2474172 h 2474172"/>
                <a:gd name="connsiteX0" fmla="*/ 2009592 w 2010471"/>
                <a:gd name="connsiteY0" fmla="*/ 1905 h 3163927"/>
                <a:gd name="connsiteX1" fmla="*/ 862825 w 2010471"/>
                <a:gd name="connsiteY1" fmla="*/ 0 h 3163927"/>
                <a:gd name="connsiteX2" fmla="*/ 0 w 2010471"/>
                <a:gd name="connsiteY2" fmla="*/ 1898088 h 3163927"/>
                <a:gd name="connsiteX3" fmla="*/ 867472 w 2010471"/>
                <a:gd name="connsiteY3" fmla="*/ 2474172 h 3163927"/>
                <a:gd name="connsiteX4" fmla="*/ 2010471 w 2010471"/>
                <a:gd name="connsiteY4" fmla="*/ 3163927 h 3163927"/>
                <a:gd name="connsiteX0" fmla="*/ 2009592 w 2010471"/>
                <a:gd name="connsiteY0" fmla="*/ 1905 h 3163927"/>
                <a:gd name="connsiteX1" fmla="*/ 862825 w 2010471"/>
                <a:gd name="connsiteY1" fmla="*/ 0 h 3163927"/>
                <a:gd name="connsiteX2" fmla="*/ 0 w 2010471"/>
                <a:gd name="connsiteY2" fmla="*/ 1898088 h 3163927"/>
                <a:gd name="connsiteX3" fmla="*/ 640035 w 2010471"/>
                <a:gd name="connsiteY3" fmla="*/ 3163927 h 3163927"/>
                <a:gd name="connsiteX4" fmla="*/ 2010471 w 2010471"/>
                <a:gd name="connsiteY4" fmla="*/ 3163927 h 3163927"/>
                <a:gd name="connsiteX0" fmla="*/ 2009592 w 2010471"/>
                <a:gd name="connsiteY0" fmla="*/ 1905 h 3167738"/>
                <a:gd name="connsiteX1" fmla="*/ 862825 w 2010471"/>
                <a:gd name="connsiteY1" fmla="*/ 0 h 3167738"/>
                <a:gd name="connsiteX2" fmla="*/ 0 w 2010471"/>
                <a:gd name="connsiteY2" fmla="*/ 1898088 h 3167738"/>
                <a:gd name="connsiteX3" fmla="*/ 640035 w 2010471"/>
                <a:gd name="connsiteY3" fmla="*/ 3163927 h 3167738"/>
                <a:gd name="connsiteX4" fmla="*/ 2010471 w 2010471"/>
                <a:gd name="connsiteY4" fmla="*/ 3167738 h 3167738"/>
                <a:gd name="connsiteX0" fmla="*/ 2009592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3383 w 2013383"/>
                <a:gd name="connsiteY0" fmla="*/ 1905 h 3167738"/>
                <a:gd name="connsiteX1" fmla="*/ 862825 w 2013383"/>
                <a:gd name="connsiteY1" fmla="*/ 0 h 3167738"/>
                <a:gd name="connsiteX2" fmla="*/ 0 w 2013383"/>
                <a:gd name="connsiteY2" fmla="*/ 1898088 h 3167738"/>
                <a:gd name="connsiteX3" fmla="*/ 641930 w 2013383"/>
                <a:gd name="connsiteY3" fmla="*/ 3167738 h 3167738"/>
                <a:gd name="connsiteX4" fmla="*/ 2010471 w 2013383"/>
                <a:gd name="connsiteY4" fmla="*/ 3167738 h 3167738"/>
                <a:gd name="connsiteX0" fmla="*/ 2011488 w 2011488"/>
                <a:gd name="connsiteY0" fmla="*/ 1905 h 3167738"/>
                <a:gd name="connsiteX1" fmla="*/ 862825 w 2011488"/>
                <a:gd name="connsiteY1" fmla="*/ 0 h 3167738"/>
                <a:gd name="connsiteX2" fmla="*/ 0 w 2011488"/>
                <a:gd name="connsiteY2" fmla="*/ 1898088 h 3167738"/>
                <a:gd name="connsiteX3" fmla="*/ 641930 w 2011488"/>
                <a:gd name="connsiteY3" fmla="*/ 3167738 h 3167738"/>
                <a:gd name="connsiteX4" fmla="*/ 2010471 w 2011488"/>
                <a:gd name="connsiteY4" fmla="*/ 3167738 h 3167738"/>
                <a:gd name="connsiteX0" fmla="*/ 2009593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1489 w 2011489"/>
                <a:gd name="connsiteY0" fmla="*/ 1905 h 3167738"/>
                <a:gd name="connsiteX1" fmla="*/ 862825 w 2011489"/>
                <a:gd name="connsiteY1" fmla="*/ 0 h 3167738"/>
                <a:gd name="connsiteX2" fmla="*/ 0 w 2011489"/>
                <a:gd name="connsiteY2" fmla="*/ 1898088 h 3167738"/>
                <a:gd name="connsiteX3" fmla="*/ 641930 w 2011489"/>
                <a:gd name="connsiteY3" fmla="*/ 3167738 h 3167738"/>
                <a:gd name="connsiteX4" fmla="*/ 2010471 w 2011489"/>
                <a:gd name="connsiteY4" fmla="*/ 3167738 h 3167738"/>
                <a:gd name="connsiteX0" fmla="*/ 2009594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09594 w 2009594"/>
                <a:gd name="connsiteY0" fmla="*/ 1905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9643"/>
                <a:gd name="connsiteX1" fmla="*/ 862825 w 2009594"/>
                <a:gd name="connsiteY1" fmla="*/ 1905 h 3169643"/>
                <a:gd name="connsiteX2" fmla="*/ 0 w 2009594"/>
                <a:gd name="connsiteY2" fmla="*/ 1899993 h 3169643"/>
                <a:gd name="connsiteX3" fmla="*/ 641930 w 2009594"/>
                <a:gd name="connsiteY3" fmla="*/ 3169643 h 3169643"/>
                <a:gd name="connsiteX4" fmla="*/ 2008576 w 2009594"/>
                <a:gd name="connsiteY4" fmla="*/ 3169643 h 3169643"/>
                <a:gd name="connsiteX0" fmla="*/ 2009594 w 2009594"/>
                <a:gd name="connsiteY0" fmla="*/ 0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1905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5833"/>
                <a:gd name="connsiteX1" fmla="*/ 860930 w 2009594"/>
                <a:gd name="connsiteY1" fmla="*/ 0 h 3165833"/>
                <a:gd name="connsiteX2" fmla="*/ 0 w 2009594"/>
                <a:gd name="connsiteY2" fmla="*/ 1896183 h 3165833"/>
                <a:gd name="connsiteX3" fmla="*/ 641930 w 2009594"/>
                <a:gd name="connsiteY3" fmla="*/ 3165833 h 3165833"/>
                <a:gd name="connsiteX4" fmla="*/ 2008576 w 2009594"/>
                <a:gd name="connsiteY4" fmla="*/ 3165833 h 316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594" h="3165833">
                  <a:moveTo>
                    <a:pt x="2009594" y="0"/>
                  </a:moveTo>
                  <a:lnTo>
                    <a:pt x="860930" y="0"/>
                  </a:lnTo>
                  <a:lnTo>
                    <a:pt x="0" y="1896183"/>
                  </a:lnTo>
                  <a:lnTo>
                    <a:pt x="641930" y="3165833"/>
                  </a:lnTo>
                  <a:lnTo>
                    <a:pt x="2008576" y="3165833"/>
                  </a:lnTo>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29" name="Volný tvar 28"/>
            <p:cNvSpPr/>
            <p:nvPr userDrawn="1"/>
          </p:nvSpPr>
          <p:spPr>
            <a:xfrm>
              <a:off x="9316886" y="3164324"/>
              <a:ext cx="1375107" cy="2704206"/>
            </a:xfrm>
            <a:custGeom>
              <a:avLst/>
              <a:gdLst>
                <a:gd name="connsiteX0" fmla="*/ 1134533 w 1134533"/>
                <a:gd name="connsiteY0" fmla="*/ 0 h 2243667"/>
                <a:gd name="connsiteX1" fmla="*/ 1134533 w 1134533"/>
                <a:gd name="connsiteY1" fmla="*/ 2243667 h 2243667"/>
                <a:gd name="connsiteX2" fmla="*/ 0 w 1134533"/>
                <a:gd name="connsiteY2" fmla="*/ 0 h 2243667"/>
                <a:gd name="connsiteX0" fmla="*/ 1134533 w 1138298"/>
                <a:gd name="connsiteY0" fmla="*/ 0 h 3398339"/>
                <a:gd name="connsiteX1" fmla="*/ 1138298 w 1138298"/>
                <a:gd name="connsiteY1" fmla="*/ 3398339 h 3398339"/>
                <a:gd name="connsiteX2" fmla="*/ 0 w 1138298"/>
                <a:gd name="connsiteY2" fmla="*/ 0 h 3398339"/>
                <a:gd name="connsiteX0" fmla="*/ 1134533 w 1138298"/>
                <a:gd name="connsiteY0" fmla="*/ 693566 h 3398339"/>
                <a:gd name="connsiteX1" fmla="*/ 1138298 w 1138298"/>
                <a:gd name="connsiteY1" fmla="*/ 3398339 h 3398339"/>
                <a:gd name="connsiteX2" fmla="*/ 0 w 1138298"/>
                <a:gd name="connsiteY2" fmla="*/ 0 h 3398339"/>
                <a:gd name="connsiteX0" fmla="*/ 1356642 w 1360407"/>
                <a:gd name="connsiteY0" fmla="*/ 0 h 2704773"/>
                <a:gd name="connsiteX1" fmla="*/ 1360407 w 1360407"/>
                <a:gd name="connsiteY1" fmla="*/ 2704773 h 2704773"/>
                <a:gd name="connsiteX2" fmla="*/ 0 w 1360407"/>
                <a:gd name="connsiteY2" fmla="*/ 0 h 2704773"/>
                <a:gd name="connsiteX0" fmla="*/ 1356642 w 1358525"/>
                <a:gd name="connsiteY0" fmla="*/ 0 h 2704773"/>
                <a:gd name="connsiteX1" fmla="*/ 1358525 w 1358525"/>
                <a:gd name="connsiteY1" fmla="*/ 2704773 h 2704773"/>
                <a:gd name="connsiteX2" fmla="*/ 0 w 1358525"/>
                <a:gd name="connsiteY2" fmla="*/ 0 h 2704773"/>
                <a:gd name="connsiteX0" fmla="*/ 1358524 w 1358705"/>
                <a:gd name="connsiteY0" fmla="*/ 0 h 2704773"/>
                <a:gd name="connsiteX1" fmla="*/ 1358525 w 1358705"/>
                <a:gd name="connsiteY1" fmla="*/ 2704773 h 2704773"/>
                <a:gd name="connsiteX2" fmla="*/ 0 w 1358705"/>
                <a:gd name="connsiteY2" fmla="*/ 0 h 2704773"/>
                <a:gd name="connsiteX0" fmla="*/ 1360406 w 1360587"/>
                <a:gd name="connsiteY0" fmla="*/ 0 h 2704773"/>
                <a:gd name="connsiteX1" fmla="*/ 1360407 w 1360587"/>
                <a:gd name="connsiteY1" fmla="*/ 2704773 h 2704773"/>
                <a:gd name="connsiteX2" fmla="*/ 0 w 1360587"/>
                <a:gd name="connsiteY2" fmla="*/ 0 h 2704773"/>
                <a:gd name="connsiteX0" fmla="*/ 1358524 w 1360407"/>
                <a:gd name="connsiteY0" fmla="*/ 0 h 2704773"/>
                <a:gd name="connsiteX1" fmla="*/ 1360407 w 1360407"/>
                <a:gd name="connsiteY1" fmla="*/ 2704773 h 2704773"/>
                <a:gd name="connsiteX2" fmla="*/ 0 w 1360407"/>
                <a:gd name="connsiteY2" fmla="*/ 0 h 2704773"/>
                <a:gd name="connsiteX0" fmla="*/ 1358524 w 1358705"/>
                <a:gd name="connsiteY0" fmla="*/ 0 h 2704773"/>
                <a:gd name="connsiteX1" fmla="*/ 1358525 w 1358705"/>
                <a:gd name="connsiteY1" fmla="*/ 2704773 h 2704773"/>
                <a:gd name="connsiteX2" fmla="*/ 0 w 1358705"/>
                <a:gd name="connsiteY2" fmla="*/ 0 h 2704773"/>
              </a:gdLst>
              <a:ahLst/>
              <a:cxnLst>
                <a:cxn ang="0">
                  <a:pos x="connsiteX0" y="connsiteY0"/>
                </a:cxn>
                <a:cxn ang="0">
                  <a:pos x="connsiteX1" y="connsiteY1"/>
                </a:cxn>
                <a:cxn ang="0">
                  <a:pos x="connsiteX2" y="connsiteY2"/>
                </a:cxn>
              </a:cxnLst>
              <a:rect l="l" t="t" r="r" b="b"/>
              <a:pathLst>
                <a:path w="1358705" h="2704773">
                  <a:moveTo>
                    <a:pt x="1358524" y="0"/>
                  </a:moveTo>
                  <a:cubicBezTo>
                    <a:pt x="1359152" y="901591"/>
                    <a:pt x="1357897" y="1803182"/>
                    <a:pt x="1358525" y="2704773"/>
                  </a:cubicBezTo>
                  <a:cubicBezTo>
                    <a:pt x="980347" y="1956884"/>
                    <a:pt x="378178" y="747889"/>
                    <a:pt x="0" y="0"/>
                  </a:cubicBezTo>
                </a:path>
              </a:pathLst>
            </a:custGeom>
            <a:gradFill>
              <a:gsLst>
                <a:gs pos="0">
                  <a:schemeClr val="bg1"/>
                </a:gs>
                <a:gs pos="100000">
                  <a:schemeClr val="bg1">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0" name="Volný tvar 29"/>
            <p:cNvSpPr/>
            <p:nvPr userDrawn="1"/>
          </p:nvSpPr>
          <p:spPr>
            <a:xfrm>
              <a:off x="2381428" y="0"/>
              <a:ext cx="7155030" cy="1892480"/>
            </a:xfrm>
            <a:custGeom>
              <a:avLst/>
              <a:gdLst>
                <a:gd name="connsiteX0" fmla="*/ 7442200 w 8144934"/>
                <a:gd name="connsiteY0" fmla="*/ 1540934 h 1540934"/>
                <a:gd name="connsiteX1" fmla="*/ 8144934 w 8144934"/>
                <a:gd name="connsiteY1" fmla="*/ 0 h 1540934"/>
                <a:gd name="connsiteX2" fmla="*/ 0 w 8144934"/>
                <a:gd name="connsiteY2" fmla="*/ 0 h 1540934"/>
                <a:gd name="connsiteX0" fmla="*/ 7438390 w 8144934"/>
                <a:gd name="connsiteY0" fmla="*/ 1540934 h 1540934"/>
                <a:gd name="connsiteX1" fmla="*/ 8144934 w 8144934"/>
                <a:gd name="connsiteY1" fmla="*/ 0 h 1540934"/>
                <a:gd name="connsiteX2" fmla="*/ 0 w 8144934"/>
                <a:gd name="connsiteY2" fmla="*/ 0 h 1540934"/>
                <a:gd name="connsiteX0" fmla="*/ 7032565 w 8144934"/>
                <a:gd name="connsiteY0" fmla="*/ 1882340 h 1882340"/>
                <a:gd name="connsiteX1" fmla="*/ 8144934 w 8144934"/>
                <a:gd name="connsiteY1" fmla="*/ 0 h 1882340"/>
                <a:gd name="connsiteX2" fmla="*/ 0 w 8144934"/>
                <a:gd name="connsiteY2" fmla="*/ 0 h 1882340"/>
                <a:gd name="connsiteX0" fmla="*/ 7030660 w 8144934"/>
                <a:gd name="connsiteY0" fmla="*/ 1882340 h 1882340"/>
                <a:gd name="connsiteX1" fmla="*/ 8144934 w 8144934"/>
                <a:gd name="connsiteY1" fmla="*/ 0 h 1882340"/>
                <a:gd name="connsiteX2" fmla="*/ 0 w 8144934"/>
                <a:gd name="connsiteY2" fmla="*/ 0 h 1882340"/>
                <a:gd name="connsiteX0" fmla="*/ 7030660 w 7895342"/>
                <a:gd name="connsiteY0" fmla="*/ 1882340 h 1882340"/>
                <a:gd name="connsiteX1" fmla="*/ 7895342 w 7895342"/>
                <a:gd name="connsiteY1" fmla="*/ 0 h 1882340"/>
                <a:gd name="connsiteX2" fmla="*/ 0 w 7895342"/>
                <a:gd name="connsiteY2" fmla="*/ 0 h 1882340"/>
                <a:gd name="connsiteX0" fmla="*/ 6272357 w 7137039"/>
                <a:gd name="connsiteY0" fmla="*/ 1884237 h 1884237"/>
                <a:gd name="connsiteX1" fmla="*/ 7137039 w 7137039"/>
                <a:gd name="connsiteY1" fmla="*/ 1897 h 1884237"/>
                <a:gd name="connsiteX2" fmla="*/ 0 w 7137039"/>
                <a:gd name="connsiteY2" fmla="*/ 0 h 1884237"/>
                <a:gd name="connsiteX0" fmla="*/ 6276168 w 7137039"/>
                <a:gd name="connsiteY0" fmla="*/ 1882340 h 1882340"/>
                <a:gd name="connsiteX1" fmla="*/ 7137039 w 7137039"/>
                <a:gd name="connsiteY1" fmla="*/ 1897 h 1882340"/>
                <a:gd name="connsiteX2" fmla="*/ 0 w 7137039"/>
                <a:gd name="connsiteY2" fmla="*/ 0 h 1882340"/>
                <a:gd name="connsiteX0" fmla="*/ 6276168 w 7137039"/>
                <a:gd name="connsiteY0" fmla="*/ 1886133 h 1886133"/>
                <a:gd name="connsiteX1" fmla="*/ 7137039 w 7137039"/>
                <a:gd name="connsiteY1" fmla="*/ 1897 h 1886133"/>
                <a:gd name="connsiteX2" fmla="*/ 0 w 7137039"/>
                <a:gd name="connsiteY2" fmla="*/ 0 h 1886133"/>
                <a:gd name="connsiteX0" fmla="*/ 6291410 w 7152281"/>
                <a:gd name="connsiteY0" fmla="*/ 1884236 h 1884236"/>
                <a:gd name="connsiteX1" fmla="*/ 7152281 w 7152281"/>
                <a:gd name="connsiteY1" fmla="*/ 0 h 1884236"/>
                <a:gd name="connsiteX2" fmla="*/ 0 w 7152281"/>
                <a:gd name="connsiteY2" fmla="*/ 0 h 1884236"/>
                <a:gd name="connsiteX0" fmla="*/ 6293315 w 7154186"/>
                <a:gd name="connsiteY0" fmla="*/ 1884236 h 1884236"/>
                <a:gd name="connsiteX1" fmla="*/ 7154186 w 7154186"/>
                <a:gd name="connsiteY1" fmla="*/ 0 h 1884236"/>
                <a:gd name="connsiteX2" fmla="*/ 0 w 7154186"/>
                <a:gd name="connsiteY2" fmla="*/ 0 h 1884236"/>
                <a:gd name="connsiteX0" fmla="*/ 6295220 w 7156091"/>
                <a:gd name="connsiteY0" fmla="*/ 1884236 h 1884236"/>
                <a:gd name="connsiteX1" fmla="*/ 7156091 w 7156091"/>
                <a:gd name="connsiteY1" fmla="*/ 0 h 1884236"/>
                <a:gd name="connsiteX2" fmla="*/ 0 w 7156091"/>
                <a:gd name="connsiteY2" fmla="*/ 0 h 1884236"/>
              </a:gdLst>
              <a:ahLst/>
              <a:cxnLst>
                <a:cxn ang="0">
                  <a:pos x="connsiteX0" y="connsiteY0"/>
                </a:cxn>
                <a:cxn ang="0">
                  <a:pos x="connsiteX1" y="connsiteY1"/>
                </a:cxn>
                <a:cxn ang="0">
                  <a:pos x="connsiteX2" y="connsiteY2"/>
                </a:cxn>
              </a:cxnLst>
              <a:rect l="l" t="t" r="r" b="b"/>
              <a:pathLst>
                <a:path w="7156091" h="1884236">
                  <a:moveTo>
                    <a:pt x="6295220" y="1884236"/>
                  </a:moveTo>
                  <a:lnTo>
                    <a:pt x="7156091" y="0"/>
                  </a:lnTo>
                  <a:lnTo>
                    <a:pt x="0" y="0"/>
                  </a:lnTo>
                </a:path>
              </a:pathLst>
            </a:custGeom>
            <a:solidFill>
              <a:schemeClr val="tx1">
                <a:lumMod val="50000"/>
                <a:lumOff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1" name="Volný tvar 30"/>
            <p:cNvSpPr/>
            <p:nvPr userDrawn="1"/>
          </p:nvSpPr>
          <p:spPr>
            <a:xfrm>
              <a:off x="-1" y="-1905"/>
              <a:ext cx="8678465" cy="4438313"/>
            </a:xfrm>
            <a:custGeom>
              <a:avLst/>
              <a:gdLst>
                <a:gd name="connsiteX0" fmla="*/ 9084733 w 9084733"/>
                <a:gd name="connsiteY0" fmla="*/ 1549400 h 3623734"/>
                <a:gd name="connsiteX1" fmla="*/ 1659466 w 9084733"/>
                <a:gd name="connsiteY1" fmla="*/ 0 h 3623734"/>
                <a:gd name="connsiteX2" fmla="*/ 0 w 9084733"/>
                <a:gd name="connsiteY2" fmla="*/ 0 h 3623734"/>
                <a:gd name="connsiteX3" fmla="*/ 0 w 9084733"/>
                <a:gd name="connsiteY3" fmla="*/ 3623734 h 3623734"/>
                <a:gd name="connsiteX0" fmla="*/ 9071408 w 9071408"/>
                <a:gd name="connsiteY0" fmla="*/ 1547495 h 3623734"/>
                <a:gd name="connsiteX1" fmla="*/ 1659466 w 9071408"/>
                <a:gd name="connsiteY1" fmla="*/ 0 h 3623734"/>
                <a:gd name="connsiteX2" fmla="*/ 0 w 9071408"/>
                <a:gd name="connsiteY2" fmla="*/ 0 h 3623734"/>
                <a:gd name="connsiteX3" fmla="*/ 0 w 9071408"/>
                <a:gd name="connsiteY3" fmla="*/ 3623734 h 3623734"/>
                <a:gd name="connsiteX0" fmla="*/ 9073312 w 9073312"/>
                <a:gd name="connsiteY0" fmla="*/ 1547495 h 4437340"/>
                <a:gd name="connsiteX1" fmla="*/ 1661370 w 9073312"/>
                <a:gd name="connsiteY1" fmla="*/ 0 h 4437340"/>
                <a:gd name="connsiteX2" fmla="*/ 1904 w 9073312"/>
                <a:gd name="connsiteY2" fmla="*/ 0 h 4437340"/>
                <a:gd name="connsiteX3" fmla="*/ 0 w 9073312"/>
                <a:gd name="connsiteY3" fmla="*/ 4437340 h 4437340"/>
                <a:gd name="connsiteX0" fmla="*/ 9071408 w 9071408"/>
                <a:gd name="connsiteY0" fmla="*/ 1547495 h 4437340"/>
                <a:gd name="connsiteX1" fmla="*/ 1659466 w 9071408"/>
                <a:gd name="connsiteY1" fmla="*/ 0 h 4437340"/>
                <a:gd name="connsiteX2" fmla="*/ 0 w 9071408"/>
                <a:gd name="connsiteY2" fmla="*/ 0 h 4437340"/>
                <a:gd name="connsiteX3" fmla="*/ 0 w 9071408"/>
                <a:gd name="connsiteY3" fmla="*/ 4437340 h 4437340"/>
                <a:gd name="connsiteX0" fmla="*/ 8667864 w 8667864"/>
                <a:gd name="connsiteY0" fmla="*/ 1894278 h 4437340"/>
                <a:gd name="connsiteX1" fmla="*/ 1659466 w 8667864"/>
                <a:gd name="connsiteY1" fmla="*/ 0 h 4437340"/>
                <a:gd name="connsiteX2" fmla="*/ 0 w 8667864"/>
                <a:gd name="connsiteY2" fmla="*/ 0 h 4437340"/>
                <a:gd name="connsiteX3" fmla="*/ 0 w 8667864"/>
                <a:gd name="connsiteY3" fmla="*/ 4437340 h 4437340"/>
                <a:gd name="connsiteX0" fmla="*/ 8667864 w 8667864"/>
                <a:gd name="connsiteY0" fmla="*/ 1896183 h 4439245"/>
                <a:gd name="connsiteX1" fmla="*/ 2373282 w 8667864"/>
                <a:gd name="connsiteY1" fmla="*/ 0 h 4439245"/>
                <a:gd name="connsiteX2" fmla="*/ 0 w 8667864"/>
                <a:gd name="connsiteY2" fmla="*/ 1905 h 4439245"/>
                <a:gd name="connsiteX3" fmla="*/ 0 w 8667864"/>
                <a:gd name="connsiteY3" fmla="*/ 4439245 h 4439245"/>
                <a:gd name="connsiteX0" fmla="*/ 8671671 w 8671671"/>
                <a:gd name="connsiteY0" fmla="*/ 1894278 h 4439245"/>
                <a:gd name="connsiteX1" fmla="*/ 2373282 w 8671671"/>
                <a:gd name="connsiteY1" fmla="*/ 0 h 4439245"/>
                <a:gd name="connsiteX2" fmla="*/ 0 w 8671671"/>
                <a:gd name="connsiteY2" fmla="*/ 1905 h 4439245"/>
                <a:gd name="connsiteX3" fmla="*/ 0 w 8671671"/>
                <a:gd name="connsiteY3" fmla="*/ 4439245 h 4439245"/>
              </a:gdLst>
              <a:ahLst/>
              <a:cxnLst>
                <a:cxn ang="0">
                  <a:pos x="connsiteX0" y="connsiteY0"/>
                </a:cxn>
                <a:cxn ang="0">
                  <a:pos x="connsiteX1" y="connsiteY1"/>
                </a:cxn>
                <a:cxn ang="0">
                  <a:pos x="connsiteX2" y="connsiteY2"/>
                </a:cxn>
                <a:cxn ang="0">
                  <a:pos x="connsiteX3" y="connsiteY3"/>
                </a:cxn>
              </a:cxnLst>
              <a:rect l="l" t="t" r="r" b="b"/>
              <a:pathLst>
                <a:path w="8671671" h="4439245">
                  <a:moveTo>
                    <a:pt x="8671671" y="1894278"/>
                  </a:moveTo>
                  <a:lnTo>
                    <a:pt x="2373282" y="0"/>
                  </a:lnTo>
                  <a:lnTo>
                    <a:pt x="0" y="1905"/>
                  </a:lnTo>
                  <a:lnTo>
                    <a:pt x="0" y="4439245"/>
                  </a:lnTo>
                </a:path>
              </a:pathLst>
            </a:custGeom>
            <a:solidFill>
              <a:schemeClr val="tx1">
                <a:lumMod val="50000"/>
                <a:lumOff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pic>
          <p:nvPicPr>
            <p:cNvPr id="32" name="Obrázek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19849" y="1054894"/>
              <a:ext cx="1224000" cy="1622866"/>
            </a:xfrm>
            <a:prstGeom prst="rect">
              <a:avLst/>
            </a:prstGeom>
          </p:spPr>
        </p:pic>
      </p:grpSp>
      <p:graphicFrame>
        <p:nvGraphicFramePr>
          <p:cNvPr id="3" name="Objek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99" imgH="398" progId="TCLayout.ActiveDocument.1">
                  <p:embed/>
                </p:oleObj>
              </mc:Choice>
              <mc:Fallback>
                <p:oleObj name="think-cell Slide" r:id="rId5" imgW="399" imgH="398" progId="TCLayout.ActiveDocument.1">
                  <p:embed/>
                  <p:pic>
                    <p:nvPicPr>
                      <p:cNvPr id="3" name="Objekt 2"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Nadpis 6"/>
          <p:cNvSpPr>
            <a:spLocks noGrp="1"/>
          </p:cNvSpPr>
          <p:nvPr>
            <p:ph type="title" hasCustomPrompt="1"/>
          </p:nvPr>
        </p:nvSpPr>
        <p:spPr>
          <a:xfrm>
            <a:off x="342848" y="1638000"/>
            <a:ext cx="8278865" cy="540000"/>
          </a:xfrm>
        </p:spPr>
        <p:txBody>
          <a:bodyPr anchor="t" anchorCtr="0">
            <a:noAutofit/>
          </a:bodyPr>
          <a:lstStyle>
            <a:lvl1pPr>
              <a:lnSpc>
                <a:spcPts val="4400"/>
              </a:lnSpc>
              <a:defRPr sz="3600" cap="all" baseline="0">
                <a:solidFill>
                  <a:schemeClr val="tx1"/>
                </a:solidFill>
                <a:latin typeface="SKODA Next" panose="020B0504020603020204" pitchFamily="34" charset="0"/>
              </a:defRPr>
            </a:lvl1pPr>
          </a:lstStyle>
          <a:p>
            <a:r>
              <a:rPr lang="cs-CZ" noProof="0" dirty="0"/>
              <a:t>Název prezentace</a:t>
            </a:r>
          </a:p>
        </p:txBody>
      </p:sp>
      <p:sp>
        <p:nvSpPr>
          <p:cNvPr id="15" name="Zástupný symbol pro text 14"/>
          <p:cNvSpPr>
            <a:spLocks noGrp="1"/>
          </p:cNvSpPr>
          <p:nvPr>
            <p:ph type="body" sz="quarter" idx="13" hasCustomPrompt="1"/>
          </p:nvPr>
        </p:nvSpPr>
        <p:spPr>
          <a:xfrm>
            <a:off x="341948" y="5506843"/>
            <a:ext cx="5183231" cy="323932"/>
          </a:xfrm>
        </p:spPr>
        <p:txBody>
          <a:bodyPr vert="horz" lIns="0" tIns="0" rIns="0" bIns="0" rtlCol="0" anchor="b" anchorCtr="0">
            <a:noAutofit/>
          </a:bodyPr>
          <a:lstStyle>
            <a:lvl1pPr marL="180000" indent="-180000">
              <a:buNone/>
              <a:defRPr lang="cs-CZ" sz="2000" noProof="0" dirty="0">
                <a:effectLst>
                  <a:glow rad="254000">
                    <a:schemeClr val="bg1">
                      <a:alpha val="34000"/>
                    </a:schemeClr>
                  </a:glow>
                </a:effectLst>
              </a:defRPr>
            </a:lvl1pPr>
          </a:lstStyle>
          <a:p>
            <a:pPr marL="0" lvl="0" indent="0">
              <a:lnSpc>
                <a:spcPts val="2400"/>
              </a:lnSpc>
            </a:pPr>
            <a:r>
              <a:rPr lang="cs-CZ" noProof="0" dirty="0"/>
              <a:t>Jméno</a:t>
            </a:r>
          </a:p>
        </p:txBody>
      </p:sp>
      <p:sp>
        <p:nvSpPr>
          <p:cNvPr id="17" name="Zástupný symbol pro text 16"/>
          <p:cNvSpPr>
            <a:spLocks noGrp="1"/>
          </p:cNvSpPr>
          <p:nvPr>
            <p:ph type="body" sz="quarter" idx="14" hasCustomPrompt="1"/>
          </p:nvPr>
        </p:nvSpPr>
        <p:spPr>
          <a:xfrm>
            <a:off x="341948" y="6298677"/>
            <a:ext cx="5183231" cy="323932"/>
          </a:xfrm>
        </p:spPr>
        <p:txBody>
          <a:bodyPr vert="horz" lIns="0" tIns="0" rIns="0" bIns="0" rtlCol="0" anchor="b" anchorCtr="0">
            <a:noAutofit/>
          </a:bodyPr>
          <a:lstStyle>
            <a:lvl1pPr marL="180000" indent="-180000">
              <a:buNone/>
              <a:defRPr lang="cs-CZ" sz="2000" noProof="0" dirty="0">
                <a:effectLst>
                  <a:glow rad="254000">
                    <a:schemeClr val="bg1">
                      <a:alpha val="34000"/>
                    </a:schemeClr>
                  </a:glow>
                </a:effectLst>
              </a:defRPr>
            </a:lvl1pPr>
          </a:lstStyle>
          <a:p>
            <a:pPr marL="0" lvl="0" indent="0">
              <a:lnSpc>
                <a:spcPts val="2400"/>
              </a:lnSpc>
            </a:pPr>
            <a:r>
              <a:rPr lang="cs-CZ" sz="2000" noProof="0" dirty="0"/>
              <a:t>XX.XX.2017</a:t>
            </a:r>
            <a:endParaRPr lang="cs-CZ" noProof="0" dirty="0"/>
          </a:p>
        </p:txBody>
      </p:sp>
      <p:sp>
        <p:nvSpPr>
          <p:cNvPr id="19" name="Zástupný symbol pro text 18"/>
          <p:cNvSpPr>
            <a:spLocks noGrp="1"/>
          </p:cNvSpPr>
          <p:nvPr>
            <p:ph type="body" sz="quarter" idx="15" hasCustomPrompt="1"/>
          </p:nvPr>
        </p:nvSpPr>
        <p:spPr>
          <a:xfrm>
            <a:off x="342850" y="2358000"/>
            <a:ext cx="6550076" cy="719849"/>
          </a:xfrm>
        </p:spPr>
        <p:txBody>
          <a:bodyPr>
            <a:noAutofit/>
          </a:bodyPr>
          <a:lstStyle>
            <a:lvl1pPr marL="0" indent="0">
              <a:lnSpc>
                <a:spcPts val="2400"/>
              </a:lnSpc>
              <a:buFont typeface="Arial" panose="020B0604020202020204" pitchFamily="34" charset="0"/>
              <a:buNone/>
              <a:defRPr sz="2000">
                <a:solidFill>
                  <a:schemeClr val="tx1"/>
                </a:solidFill>
                <a:latin typeface="SKODA Next" panose="020B0504020603020204" pitchFamily="34" charset="0"/>
              </a:defRPr>
            </a:lvl1pPr>
          </a:lstStyle>
          <a:p>
            <a:pPr lvl="0"/>
            <a:r>
              <a:rPr lang="cs-CZ" noProof="0" dirty="0"/>
              <a:t>Dodatečné informace</a:t>
            </a:r>
          </a:p>
        </p:txBody>
      </p:sp>
      <p:sp>
        <p:nvSpPr>
          <p:cNvPr id="21" name="Zástupný symbol pro text 20"/>
          <p:cNvSpPr>
            <a:spLocks noGrp="1"/>
          </p:cNvSpPr>
          <p:nvPr>
            <p:ph type="body" sz="quarter" idx="16" hasCustomPrompt="1"/>
          </p:nvPr>
        </p:nvSpPr>
        <p:spPr>
          <a:xfrm>
            <a:off x="341949" y="5902760"/>
            <a:ext cx="5183231" cy="323932"/>
          </a:xfrm>
        </p:spPr>
        <p:txBody>
          <a:bodyPr vert="horz" lIns="0" tIns="0" rIns="0" bIns="0" rtlCol="0" anchor="b" anchorCtr="0">
            <a:noAutofit/>
          </a:bodyPr>
          <a:lstStyle>
            <a:lvl1pPr marL="180000" indent="-180000">
              <a:buNone/>
              <a:defRPr lang="cs-CZ" sz="2000" noProof="0" dirty="0">
                <a:effectLst>
                  <a:glow rad="254000">
                    <a:schemeClr val="bg1">
                      <a:alpha val="34000"/>
                    </a:schemeClr>
                  </a:glow>
                </a:effectLst>
              </a:defRPr>
            </a:lvl1pPr>
          </a:lstStyle>
          <a:p>
            <a:pPr marL="0" lvl="0" indent="0">
              <a:lnSpc>
                <a:spcPts val="2400"/>
              </a:lnSpc>
            </a:pPr>
            <a:r>
              <a:rPr lang="cs-CZ" noProof="0" dirty="0"/>
              <a:t>Oddělení</a:t>
            </a:r>
          </a:p>
        </p:txBody>
      </p:sp>
      <p:sp>
        <p:nvSpPr>
          <p:cNvPr id="16" name="Zástupný symbol pro číslo snímku 5"/>
          <p:cNvSpPr>
            <a:spLocks noGrp="1"/>
          </p:cNvSpPr>
          <p:nvPr>
            <p:ph type="sldNum" sz="quarter" idx="10"/>
          </p:nvPr>
        </p:nvSpPr>
        <p:spPr>
          <a:xfrm>
            <a:off x="342849" y="7162496"/>
            <a:ext cx="269960" cy="179962"/>
          </a:xfrm>
        </p:spPr>
        <p:txBody>
          <a:bodyPr/>
          <a:lstStyle>
            <a:lvl1pPr>
              <a:defRPr>
                <a:noFill/>
                <a:latin typeface="SKODA Next" panose="020B0504020603020204" pitchFamily="34" charset="0"/>
              </a:defRPr>
            </a:lvl1pPr>
          </a:lstStyle>
          <a:p>
            <a:fld id="{1E956721-BB38-4972-8ACD-5A2C9377E3B4}" type="slidenum">
              <a:rPr lang="cs-CZ" smtClean="0"/>
              <a:pPr/>
              <a:t>‹#›</a:t>
            </a:fld>
            <a:endParaRPr lang="cs-CZ" dirty="0"/>
          </a:p>
        </p:txBody>
      </p:sp>
      <p:sp>
        <p:nvSpPr>
          <p:cNvPr id="22" name="Zástupný symbol pro zápatí 6"/>
          <p:cNvSpPr>
            <a:spLocks noGrp="1"/>
          </p:cNvSpPr>
          <p:nvPr>
            <p:ph type="ftr" sz="quarter" idx="11"/>
          </p:nvPr>
        </p:nvSpPr>
        <p:spPr>
          <a:xfrm>
            <a:off x="719894" y="7162496"/>
            <a:ext cx="6173596" cy="179962"/>
          </a:xfrm>
        </p:spPr>
        <p:txBody>
          <a:bodyPr/>
          <a:lstStyle>
            <a:lvl1pPr>
              <a:defRPr>
                <a:noFill/>
                <a:latin typeface="SKODA Next" panose="020B0504020603020204" pitchFamily="34" charset="0"/>
              </a:defRPr>
            </a:lvl1pPr>
          </a:lstStyle>
          <a:p>
            <a:endParaRPr lang="cs-CZ" dirty="0"/>
          </a:p>
        </p:txBody>
      </p:sp>
      <p:sp>
        <p:nvSpPr>
          <p:cNvPr id="18" name="TextovéPole 17"/>
          <p:cNvSpPr txBox="1"/>
          <p:nvPr userDrawn="1"/>
        </p:nvSpPr>
        <p:spPr>
          <a:xfrm>
            <a:off x="9720000" y="7358802"/>
            <a:ext cx="720000" cy="108000"/>
          </a:xfrm>
          <a:prstGeom prst="rect">
            <a:avLst/>
          </a:prstGeom>
          <a:noFill/>
        </p:spPr>
        <p:txBody>
          <a:bodyPr wrap="square" lIns="0" tIns="0" rIns="0" bIns="0" rtlCol="0" anchor="b" anchorCtr="0">
            <a:normAutofit/>
          </a:bodyPr>
          <a:lstStyle/>
          <a:p>
            <a:pPr algn="r"/>
            <a:r>
              <a:rPr lang="en-GB" sz="700" b="1" noProof="0" dirty="0">
                <a:effectLst>
                  <a:glow rad="254000">
                    <a:schemeClr val="bg1">
                      <a:alpha val="34000"/>
                    </a:schemeClr>
                  </a:glow>
                </a:effectLst>
                <a:latin typeface="SKODA Next" panose="020B0504020603020204" pitchFamily="34" charset="0"/>
                <a:cs typeface="Arial" panose="020B0604020202020204" pitchFamily="34" charset="0"/>
              </a:rPr>
              <a:t>CONFIDENTIAL</a:t>
            </a:r>
          </a:p>
        </p:txBody>
      </p:sp>
    </p:spTree>
    <p:extLst>
      <p:ext uri="{BB962C8B-B14F-4D97-AF65-F5344CB8AC3E}">
        <p14:creationId xmlns:p14="http://schemas.microsoft.com/office/powerpoint/2010/main" val="6289696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Ligh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20" name="Skupina 19"/>
          <p:cNvGrpSpPr/>
          <p:nvPr userDrawn="1"/>
        </p:nvGrpSpPr>
        <p:grpSpPr>
          <a:xfrm>
            <a:off x="-1" y="-1905"/>
            <a:ext cx="10691994" cy="5870435"/>
            <a:chOff x="-1" y="-1905"/>
            <a:chExt cx="10691994" cy="5870435"/>
          </a:xfrm>
        </p:grpSpPr>
        <p:sp>
          <p:nvSpPr>
            <p:cNvPr id="28" name="Volný tvar 27"/>
            <p:cNvSpPr/>
            <p:nvPr userDrawn="1"/>
          </p:nvSpPr>
          <p:spPr>
            <a:xfrm>
              <a:off x="8671948" y="0"/>
              <a:ext cx="2019872" cy="3165168"/>
            </a:xfrm>
            <a:custGeom>
              <a:avLst/>
              <a:gdLst>
                <a:gd name="connsiteX0" fmla="*/ 1600200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5886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7782 w 1608666"/>
                <a:gd name="connsiteY0" fmla="*/ 0 h 2472267"/>
                <a:gd name="connsiteX1" fmla="*/ 711200 w 1608666"/>
                <a:gd name="connsiteY1" fmla="*/ 0 h 2472267"/>
                <a:gd name="connsiteX2" fmla="*/ 0 w 1608666"/>
                <a:gd name="connsiteY2" fmla="*/ 1549400 h 2472267"/>
                <a:gd name="connsiteX3" fmla="*/ 465666 w 1608666"/>
                <a:gd name="connsiteY3" fmla="*/ 2472267 h 2472267"/>
                <a:gd name="connsiteX4" fmla="*/ 1608666 w 1608666"/>
                <a:gd name="connsiteY4" fmla="*/ 2472267 h 2472267"/>
                <a:gd name="connsiteX0" fmla="*/ 1609678 w 1609678"/>
                <a:gd name="connsiteY0" fmla="*/ 0 h 2472267"/>
                <a:gd name="connsiteX1" fmla="*/ 711200 w 1609678"/>
                <a:gd name="connsiteY1" fmla="*/ 0 h 2472267"/>
                <a:gd name="connsiteX2" fmla="*/ 0 w 1609678"/>
                <a:gd name="connsiteY2" fmla="*/ 1549400 h 2472267"/>
                <a:gd name="connsiteX3" fmla="*/ 465666 w 1609678"/>
                <a:gd name="connsiteY3" fmla="*/ 2472267 h 2472267"/>
                <a:gd name="connsiteX4" fmla="*/ 1608666 w 1609678"/>
                <a:gd name="connsiteY4" fmla="*/ 2472267 h 2472267"/>
                <a:gd name="connsiteX0" fmla="*/ 1609678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4 w 1611574"/>
                <a:gd name="connsiteY0" fmla="*/ 0 h 2472267"/>
                <a:gd name="connsiteX1" fmla="*/ 711200 w 1611574"/>
                <a:gd name="connsiteY1" fmla="*/ 0 h 2472267"/>
                <a:gd name="connsiteX2" fmla="*/ 0 w 1611574"/>
                <a:gd name="connsiteY2" fmla="*/ 1549400 h 2472267"/>
                <a:gd name="connsiteX3" fmla="*/ 465666 w 1611574"/>
                <a:gd name="connsiteY3" fmla="*/ 2472267 h 2472267"/>
                <a:gd name="connsiteX4" fmla="*/ 1610561 w 1611574"/>
                <a:gd name="connsiteY4" fmla="*/ 2472267 h 2472267"/>
                <a:gd name="connsiteX0" fmla="*/ 1609679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5 w 1611575"/>
                <a:gd name="connsiteY0" fmla="*/ 0 h 2472267"/>
                <a:gd name="connsiteX1" fmla="*/ 711200 w 1611575"/>
                <a:gd name="connsiteY1" fmla="*/ 0 h 2472267"/>
                <a:gd name="connsiteX2" fmla="*/ 0 w 1611575"/>
                <a:gd name="connsiteY2" fmla="*/ 1549400 h 2472267"/>
                <a:gd name="connsiteX3" fmla="*/ 465666 w 1611575"/>
                <a:gd name="connsiteY3" fmla="*/ 2472267 h 2472267"/>
                <a:gd name="connsiteX4" fmla="*/ 1610561 w 1611575"/>
                <a:gd name="connsiteY4" fmla="*/ 2472267 h 2472267"/>
                <a:gd name="connsiteX0" fmla="*/ 1609680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3995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9681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11577 w 1611577"/>
                <a:gd name="connsiteY0" fmla="*/ 0 h 2472267"/>
                <a:gd name="connsiteX1" fmla="*/ 711200 w 1611577"/>
                <a:gd name="connsiteY1" fmla="*/ 0 h 2472267"/>
                <a:gd name="connsiteX2" fmla="*/ 0 w 1611577"/>
                <a:gd name="connsiteY2" fmla="*/ 1549400 h 2472267"/>
                <a:gd name="connsiteX3" fmla="*/ 465666 w 1611577"/>
                <a:gd name="connsiteY3" fmla="*/ 2472267 h 2472267"/>
                <a:gd name="connsiteX4" fmla="*/ 1610561 w 1611577"/>
                <a:gd name="connsiteY4" fmla="*/ 2472267 h 2472267"/>
                <a:gd name="connsiteX0" fmla="*/ 1609682 w 1610561"/>
                <a:gd name="connsiteY0" fmla="*/ 0 h 2472267"/>
                <a:gd name="connsiteX1" fmla="*/ 711200 w 1610561"/>
                <a:gd name="connsiteY1" fmla="*/ 0 h 2472267"/>
                <a:gd name="connsiteX2" fmla="*/ 0 w 1610561"/>
                <a:gd name="connsiteY2" fmla="*/ 1549400 h 2472267"/>
                <a:gd name="connsiteX3" fmla="*/ 465666 w 1610561"/>
                <a:gd name="connsiteY3" fmla="*/ 2472267 h 2472267"/>
                <a:gd name="connsiteX4" fmla="*/ 1610561 w 1610561"/>
                <a:gd name="connsiteY4" fmla="*/ 2472267 h 2472267"/>
                <a:gd name="connsiteX0" fmla="*/ 1607787 w 1608666"/>
                <a:gd name="connsiteY0" fmla="*/ 0 h 2472267"/>
                <a:gd name="connsiteX1" fmla="*/ 709305 w 1608666"/>
                <a:gd name="connsiteY1" fmla="*/ 0 h 2472267"/>
                <a:gd name="connsiteX2" fmla="*/ 0 w 1608666"/>
                <a:gd name="connsiteY2" fmla="*/ 1549400 h 2472267"/>
                <a:gd name="connsiteX3" fmla="*/ 463771 w 1608666"/>
                <a:gd name="connsiteY3" fmla="*/ 2472267 h 2472267"/>
                <a:gd name="connsiteX4" fmla="*/ 1608666 w 1608666"/>
                <a:gd name="connsiteY4" fmla="*/ 2472267 h 2472267"/>
                <a:gd name="connsiteX0" fmla="*/ 1603996 w 1604875"/>
                <a:gd name="connsiteY0" fmla="*/ 0 h 2472267"/>
                <a:gd name="connsiteX1" fmla="*/ 705514 w 1604875"/>
                <a:gd name="connsiteY1" fmla="*/ 0 h 2472267"/>
                <a:gd name="connsiteX2" fmla="*/ 0 w 1604875"/>
                <a:gd name="connsiteY2" fmla="*/ 1549400 h 2472267"/>
                <a:gd name="connsiteX3" fmla="*/ 459980 w 1604875"/>
                <a:gd name="connsiteY3" fmla="*/ 2472267 h 2472267"/>
                <a:gd name="connsiteX4" fmla="*/ 1604875 w 1604875"/>
                <a:gd name="connsiteY4" fmla="*/ 2472267 h 2472267"/>
                <a:gd name="connsiteX0" fmla="*/ 1603996 w 1604875"/>
                <a:gd name="connsiteY0" fmla="*/ 1905 h 2474172"/>
                <a:gd name="connsiteX1" fmla="*/ 457229 w 1604875"/>
                <a:gd name="connsiteY1" fmla="*/ 0 h 2474172"/>
                <a:gd name="connsiteX2" fmla="*/ 0 w 1604875"/>
                <a:gd name="connsiteY2" fmla="*/ 1551305 h 2474172"/>
                <a:gd name="connsiteX3" fmla="*/ 459980 w 1604875"/>
                <a:gd name="connsiteY3" fmla="*/ 2474172 h 2474172"/>
                <a:gd name="connsiteX4" fmla="*/ 1604875 w 1604875"/>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5576 w 2010471"/>
                <a:gd name="connsiteY3" fmla="*/ 2474172 h 2474172"/>
                <a:gd name="connsiteX4" fmla="*/ 2010471 w 2010471"/>
                <a:gd name="connsiteY4" fmla="*/ 2474172 h 2474172"/>
                <a:gd name="connsiteX0" fmla="*/ 2009592 w 2010471"/>
                <a:gd name="connsiteY0" fmla="*/ 1905 h 2474172"/>
                <a:gd name="connsiteX1" fmla="*/ 862825 w 2010471"/>
                <a:gd name="connsiteY1" fmla="*/ 0 h 2474172"/>
                <a:gd name="connsiteX2" fmla="*/ 0 w 2010471"/>
                <a:gd name="connsiteY2" fmla="*/ 1898088 h 2474172"/>
                <a:gd name="connsiteX3" fmla="*/ 867472 w 2010471"/>
                <a:gd name="connsiteY3" fmla="*/ 2474172 h 2474172"/>
                <a:gd name="connsiteX4" fmla="*/ 2010471 w 2010471"/>
                <a:gd name="connsiteY4" fmla="*/ 2474172 h 2474172"/>
                <a:gd name="connsiteX0" fmla="*/ 2009592 w 2010471"/>
                <a:gd name="connsiteY0" fmla="*/ 1905 h 3163927"/>
                <a:gd name="connsiteX1" fmla="*/ 862825 w 2010471"/>
                <a:gd name="connsiteY1" fmla="*/ 0 h 3163927"/>
                <a:gd name="connsiteX2" fmla="*/ 0 w 2010471"/>
                <a:gd name="connsiteY2" fmla="*/ 1898088 h 3163927"/>
                <a:gd name="connsiteX3" fmla="*/ 867472 w 2010471"/>
                <a:gd name="connsiteY3" fmla="*/ 2474172 h 3163927"/>
                <a:gd name="connsiteX4" fmla="*/ 2010471 w 2010471"/>
                <a:gd name="connsiteY4" fmla="*/ 3163927 h 3163927"/>
                <a:gd name="connsiteX0" fmla="*/ 2009592 w 2010471"/>
                <a:gd name="connsiteY0" fmla="*/ 1905 h 3163927"/>
                <a:gd name="connsiteX1" fmla="*/ 862825 w 2010471"/>
                <a:gd name="connsiteY1" fmla="*/ 0 h 3163927"/>
                <a:gd name="connsiteX2" fmla="*/ 0 w 2010471"/>
                <a:gd name="connsiteY2" fmla="*/ 1898088 h 3163927"/>
                <a:gd name="connsiteX3" fmla="*/ 640035 w 2010471"/>
                <a:gd name="connsiteY3" fmla="*/ 3163927 h 3163927"/>
                <a:gd name="connsiteX4" fmla="*/ 2010471 w 2010471"/>
                <a:gd name="connsiteY4" fmla="*/ 3163927 h 3163927"/>
                <a:gd name="connsiteX0" fmla="*/ 2009592 w 2010471"/>
                <a:gd name="connsiteY0" fmla="*/ 1905 h 3167738"/>
                <a:gd name="connsiteX1" fmla="*/ 862825 w 2010471"/>
                <a:gd name="connsiteY1" fmla="*/ 0 h 3167738"/>
                <a:gd name="connsiteX2" fmla="*/ 0 w 2010471"/>
                <a:gd name="connsiteY2" fmla="*/ 1898088 h 3167738"/>
                <a:gd name="connsiteX3" fmla="*/ 640035 w 2010471"/>
                <a:gd name="connsiteY3" fmla="*/ 3163927 h 3167738"/>
                <a:gd name="connsiteX4" fmla="*/ 2010471 w 2010471"/>
                <a:gd name="connsiteY4" fmla="*/ 3167738 h 3167738"/>
                <a:gd name="connsiteX0" fmla="*/ 2009592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3383 w 2013383"/>
                <a:gd name="connsiteY0" fmla="*/ 1905 h 3167738"/>
                <a:gd name="connsiteX1" fmla="*/ 862825 w 2013383"/>
                <a:gd name="connsiteY1" fmla="*/ 0 h 3167738"/>
                <a:gd name="connsiteX2" fmla="*/ 0 w 2013383"/>
                <a:gd name="connsiteY2" fmla="*/ 1898088 h 3167738"/>
                <a:gd name="connsiteX3" fmla="*/ 641930 w 2013383"/>
                <a:gd name="connsiteY3" fmla="*/ 3167738 h 3167738"/>
                <a:gd name="connsiteX4" fmla="*/ 2010471 w 2013383"/>
                <a:gd name="connsiteY4" fmla="*/ 3167738 h 3167738"/>
                <a:gd name="connsiteX0" fmla="*/ 2011488 w 2011488"/>
                <a:gd name="connsiteY0" fmla="*/ 1905 h 3167738"/>
                <a:gd name="connsiteX1" fmla="*/ 862825 w 2011488"/>
                <a:gd name="connsiteY1" fmla="*/ 0 h 3167738"/>
                <a:gd name="connsiteX2" fmla="*/ 0 w 2011488"/>
                <a:gd name="connsiteY2" fmla="*/ 1898088 h 3167738"/>
                <a:gd name="connsiteX3" fmla="*/ 641930 w 2011488"/>
                <a:gd name="connsiteY3" fmla="*/ 3167738 h 3167738"/>
                <a:gd name="connsiteX4" fmla="*/ 2010471 w 2011488"/>
                <a:gd name="connsiteY4" fmla="*/ 3167738 h 3167738"/>
                <a:gd name="connsiteX0" fmla="*/ 2009593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11489 w 2011489"/>
                <a:gd name="connsiteY0" fmla="*/ 1905 h 3167738"/>
                <a:gd name="connsiteX1" fmla="*/ 862825 w 2011489"/>
                <a:gd name="connsiteY1" fmla="*/ 0 h 3167738"/>
                <a:gd name="connsiteX2" fmla="*/ 0 w 2011489"/>
                <a:gd name="connsiteY2" fmla="*/ 1898088 h 3167738"/>
                <a:gd name="connsiteX3" fmla="*/ 641930 w 2011489"/>
                <a:gd name="connsiteY3" fmla="*/ 3167738 h 3167738"/>
                <a:gd name="connsiteX4" fmla="*/ 2010471 w 2011489"/>
                <a:gd name="connsiteY4" fmla="*/ 3167738 h 3167738"/>
                <a:gd name="connsiteX0" fmla="*/ 2009594 w 2010471"/>
                <a:gd name="connsiteY0" fmla="*/ 1905 h 3167738"/>
                <a:gd name="connsiteX1" fmla="*/ 862825 w 2010471"/>
                <a:gd name="connsiteY1" fmla="*/ 0 h 3167738"/>
                <a:gd name="connsiteX2" fmla="*/ 0 w 2010471"/>
                <a:gd name="connsiteY2" fmla="*/ 1898088 h 3167738"/>
                <a:gd name="connsiteX3" fmla="*/ 641930 w 2010471"/>
                <a:gd name="connsiteY3" fmla="*/ 3167738 h 3167738"/>
                <a:gd name="connsiteX4" fmla="*/ 2010471 w 2010471"/>
                <a:gd name="connsiteY4" fmla="*/ 3167738 h 3167738"/>
                <a:gd name="connsiteX0" fmla="*/ 2009594 w 2009594"/>
                <a:gd name="connsiteY0" fmla="*/ 1905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9643"/>
                <a:gd name="connsiteX1" fmla="*/ 862825 w 2009594"/>
                <a:gd name="connsiteY1" fmla="*/ 1905 h 3169643"/>
                <a:gd name="connsiteX2" fmla="*/ 0 w 2009594"/>
                <a:gd name="connsiteY2" fmla="*/ 1899993 h 3169643"/>
                <a:gd name="connsiteX3" fmla="*/ 641930 w 2009594"/>
                <a:gd name="connsiteY3" fmla="*/ 3169643 h 3169643"/>
                <a:gd name="connsiteX4" fmla="*/ 2008576 w 2009594"/>
                <a:gd name="connsiteY4" fmla="*/ 3169643 h 3169643"/>
                <a:gd name="connsiteX0" fmla="*/ 2009594 w 2009594"/>
                <a:gd name="connsiteY0" fmla="*/ 0 h 3167738"/>
                <a:gd name="connsiteX1" fmla="*/ 862825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1905 h 3167738"/>
                <a:gd name="connsiteX1" fmla="*/ 860930 w 2009594"/>
                <a:gd name="connsiteY1" fmla="*/ 0 h 3167738"/>
                <a:gd name="connsiteX2" fmla="*/ 0 w 2009594"/>
                <a:gd name="connsiteY2" fmla="*/ 1898088 h 3167738"/>
                <a:gd name="connsiteX3" fmla="*/ 641930 w 2009594"/>
                <a:gd name="connsiteY3" fmla="*/ 3167738 h 3167738"/>
                <a:gd name="connsiteX4" fmla="*/ 2008576 w 2009594"/>
                <a:gd name="connsiteY4" fmla="*/ 3167738 h 3167738"/>
                <a:gd name="connsiteX0" fmla="*/ 2009594 w 2009594"/>
                <a:gd name="connsiteY0" fmla="*/ 0 h 3165833"/>
                <a:gd name="connsiteX1" fmla="*/ 860930 w 2009594"/>
                <a:gd name="connsiteY1" fmla="*/ 0 h 3165833"/>
                <a:gd name="connsiteX2" fmla="*/ 0 w 2009594"/>
                <a:gd name="connsiteY2" fmla="*/ 1896183 h 3165833"/>
                <a:gd name="connsiteX3" fmla="*/ 641930 w 2009594"/>
                <a:gd name="connsiteY3" fmla="*/ 3165833 h 3165833"/>
                <a:gd name="connsiteX4" fmla="*/ 2008576 w 2009594"/>
                <a:gd name="connsiteY4" fmla="*/ 3165833 h 3165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594" h="3165833">
                  <a:moveTo>
                    <a:pt x="2009594" y="0"/>
                  </a:moveTo>
                  <a:lnTo>
                    <a:pt x="860930" y="0"/>
                  </a:lnTo>
                  <a:lnTo>
                    <a:pt x="0" y="1896183"/>
                  </a:lnTo>
                  <a:lnTo>
                    <a:pt x="641930" y="3165833"/>
                  </a:lnTo>
                  <a:lnTo>
                    <a:pt x="2008576" y="3165833"/>
                  </a:lnTo>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29" name="Volný tvar 28"/>
            <p:cNvSpPr/>
            <p:nvPr userDrawn="1"/>
          </p:nvSpPr>
          <p:spPr>
            <a:xfrm>
              <a:off x="9316886" y="3164324"/>
              <a:ext cx="1375107" cy="2704206"/>
            </a:xfrm>
            <a:custGeom>
              <a:avLst/>
              <a:gdLst>
                <a:gd name="connsiteX0" fmla="*/ 1134533 w 1134533"/>
                <a:gd name="connsiteY0" fmla="*/ 0 h 2243667"/>
                <a:gd name="connsiteX1" fmla="*/ 1134533 w 1134533"/>
                <a:gd name="connsiteY1" fmla="*/ 2243667 h 2243667"/>
                <a:gd name="connsiteX2" fmla="*/ 0 w 1134533"/>
                <a:gd name="connsiteY2" fmla="*/ 0 h 2243667"/>
                <a:gd name="connsiteX0" fmla="*/ 1134533 w 1138298"/>
                <a:gd name="connsiteY0" fmla="*/ 0 h 3398339"/>
                <a:gd name="connsiteX1" fmla="*/ 1138298 w 1138298"/>
                <a:gd name="connsiteY1" fmla="*/ 3398339 h 3398339"/>
                <a:gd name="connsiteX2" fmla="*/ 0 w 1138298"/>
                <a:gd name="connsiteY2" fmla="*/ 0 h 3398339"/>
                <a:gd name="connsiteX0" fmla="*/ 1134533 w 1138298"/>
                <a:gd name="connsiteY0" fmla="*/ 693566 h 3398339"/>
                <a:gd name="connsiteX1" fmla="*/ 1138298 w 1138298"/>
                <a:gd name="connsiteY1" fmla="*/ 3398339 h 3398339"/>
                <a:gd name="connsiteX2" fmla="*/ 0 w 1138298"/>
                <a:gd name="connsiteY2" fmla="*/ 0 h 3398339"/>
                <a:gd name="connsiteX0" fmla="*/ 1356642 w 1360407"/>
                <a:gd name="connsiteY0" fmla="*/ 0 h 2704773"/>
                <a:gd name="connsiteX1" fmla="*/ 1360407 w 1360407"/>
                <a:gd name="connsiteY1" fmla="*/ 2704773 h 2704773"/>
                <a:gd name="connsiteX2" fmla="*/ 0 w 1360407"/>
                <a:gd name="connsiteY2" fmla="*/ 0 h 2704773"/>
                <a:gd name="connsiteX0" fmla="*/ 1356642 w 1358525"/>
                <a:gd name="connsiteY0" fmla="*/ 0 h 2704773"/>
                <a:gd name="connsiteX1" fmla="*/ 1358525 w 1358525"/>
                <a:gd name="connsiteY1" fmla="*/ 2704773 h 2704773"/>
                <a:gd name="connsiteX2" fmla="*/ 0 w 1358525"/>
                <a:gd name="connsiteY2" fmla="*/ 0 h 2704773"/>
                <a:gd name="connsiteX0" fmla="*/ 1358524 w 1358705"/>
                <a:gd name="connsiteY0" fmla="*/ 0 h 2704773"/>
                <a:gd name="connsiteX1" fmla="*/ 1358525 w 1358705"/>
                <a:gd name="connsiteY1" fmla="*/ 2704773 h 2704773"/>
                <a:gd name="connsiteX2" fmla="*/ 0 w 1358705"/>
                <a:gd name="connsiteY2" fmla="*/ 0 h 2704773"/>
                <a:gd name="connsiteX0" fmla="*/ 1360406 w 1360587"/>
                <a:gd name="connsiteY0" fmla="*/ 0 h 2704773"/>
                <a:gd name="connsiteX1" fmla="*/ 1360407 w 1360587"/>
                <a:gd name="connsiteY1" fmla="*/ 2704773 h 2704773"/>
                <a:gd name="connsiteX2" fmla="*/ 0 w 1360587"/>
                <a:gd name="connsiteY2" fmla="*/ 0 h 2704773"/>
                <a:gd name="connsiteX0" fmla="*/ 1358524 w 1360407"/>
                <a:gd name="connsiteY0" fmla="*/ 0 h 2704773"/>
                <a:gd name="connsiteX1" fmla="*/ 1360407 w 1360407"/>
                <a:gd name="connsiteY1" fmla="*/ 2704773 h 2704773"/>
                <a:gd name="connsiteX2" fmla="*/ 0 w 1360407"/>
                <a:gd name="connsiteY2" fmla="*/ 0 h 2704773"/>
                <a:gd name="connsiteX0" fmla="*/ 1358524 w 1358705"/>
                <a:gd name="connsiteY0" fmla="*/ 0 h 2704773"/>
                <a:gd name="connsiteX1" fmla="*/ 1358525 w 1358705"/>
                <a:gd name="connsiteY1" fmla="*/ 2704773 h 2704773"/>
                <a:gd name="connsiteX2" fmla="*/ 0 w 1358705"/>
                <a:gd name="connsiteY2" fmla="*/ 0 h 2704773"/>
              </a:gdLst>
              <a:ahLst/>
              <a:cxnLst>
                <a:cxn ang="0">
                  <a:pos x="connsiteX0" y="connsiteY0"/>
                </a:cxn>
                <a:cxn ang="0">
                  <a:pos x="connsiteX1" y="connsiteY1"/>
                </a:cxn>
                <a:cxn ang="0">
                  <a:pos x="connsiteX2" y="connsiteY2"/>
                </a:cxn>
              </a:cxnLst>
              <a:rect l="l" t="t" r="r" b="b"/>
              <a:pathLst>
                <a:path w="1358705" h="2704773">
                  <a:moveTo>
                    <a:pt x="1358524" y="0"/>
                  </a:moveTo>
                  <a:cubicBezTo>
                    <a:pt x="1359152" y="901591"/>
                    <a:pt x="1357897" y="1803182"/>
                    <a:pt x="1358525" y="2704773"/>
                  </a:cubicBezTo>
                  <a:cubicBezTo>
                    <a:pt x="980347" y="1956884"/>
                    <a:pt x="378178" y="747889"/>
                    <a:pt x="0" y="0"/>
                  </a:cubicBezTo>
                </a:path>
              </a:pathLst>
            </a:custGeom>
            <a:gradFill>
              <a:gsLst>
                <a:gs pos="0">
                  <a:schemeClr val="bg1"/>
                </a:gs>
                <a:gs pos="100000">
                  <a:schemeClr val="bg1">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0" name="Volný tvar 29"/>
            <p:cNvSpPr/>
            <p:nvPr userDrawn="1"/>
          </p:nvSpPr>
          <p:spPr>
            <a:xfrm>
              <a:off x="2381428" y="0"/>
              <a:ext cx="7155030" cy="1892480"/>
            </a:xfrm>
            <a:custGeom>
              <a:avLst/>
              <a:gdLst>
                <a:gd name="connsiteX0" fmla="*/ 7442200 w 8144934"/>
                <a:gd name="connsiteY0" fmla="*/ 1540934 h 1540934"/>
                <a:gd name="connsiteX1" fmla="*/ 8144934 w 8144934"/>
                <a:gd name="connsiteY1" fmla="*/ 0 h 1540934"/>
                <a:gd name="connsiteX2" fmla="*/ 0 w 8144934"/>
                <a:gd name="connsiteY2" fmla="*/ 0 h 1540934"/>
                <a:gd name="connsiteX0" fmla="*/ 7438390 w 8144934"/>
                <a:gd name="connsiteY0" fmla="*/ 1540934 h 1540934"/>
                <a:gd name="connsiteX1" fmla="*/ 8144934 w 8144934"/>
                <a:gd name="connsiteY1" fmla="*/ 0 h 1540934"/>
                <a:gd name="connsiteX2" fmla="*/ 0 w 8144934"/>
                <a:gd name="connsiteY2" fmla="*/ 0 h 1540934"/>
                <a:gd name="connsiteX0" fmla="*/ 7032565 w 8144934"/>
                <a:gd name="connsiteY0" fmla="*/ 1882340 h 1882340"/>
                <a:gd name="connsiteX1" fmla="*/ 8144934 w 8144934"/>
                <a:gd name="connsiteY1" fmla="*/ 0 h 1882340"/>
                <a:gd name="connsiteX2" fmla="*/ 0 w 8144934"/>
                <a:gd name="connsiteY2" fmla="*/ 0 h 1882340"/>
                <a:gd name="connsiteX0" fmla="*/ 7030660 w 8144934"/>
                <a:gd name="connsiteY0" fmla="*/ 1882340 h 1882340"/>
                <a:gd name="connsiteX1" fmla="*/ 8144934 w 8144934"/>
                <a:gd name="connsiteY1" fmla="*/ 0 h 1882340"/>
                <a:gd name="connsiteX2" fmla="*/ 0 w 8144934"/>
                <a:gd name="connsiteY2" fmla="*/ 0 h 1882340"/>
                <a:gd name="connsiteX0" fmla="*/ 7030660 w 7895342"/>
                <a:gd name="connsiteY0" fmla="*/ 1882340 h 1882340"/>
                <a:gd name="connsiteX1" fmla="*/ 7895342 w 7895342"/>
                <a:gd name="connsiteY1" fmla="*/ 0 h 1882340"/>
                <a:gd name="connsiteX2" fmla="*/ 0 w 7895342"/>
                <a:gd name="connsiteY2" fmla="*/ 0 h 1882340"/>
                <a:gd name="connsiteX0" fmla="*/ 6272357 w 7137039"/>
                <a:gd name="connsiteY0" fmla="*/ 1884237 h 1884237"/>
                <a:gd name="connsiteX1" fmla="*/ 7137039 w 7137039"/>
                <a:gd name="connsiteY1" fmla="*/ 1897 h 1884237"/>
                <a:gd name="connsiteX2" fmla="*/ 0 w 7137039"/>
                <a:gd name="connsiteY2" fmla="*/ 0 h 1884237"/>
                <a:gd name="connsiteX0" fmla="*/ 6276168 w 7137039"/>
                <a:gd name="connsiteY0" fmla="*/ 1882340 h 1882340"/>
                <a:gd name="connsiteX1" fmla="*/ 7137039 w 7137039"/>
                <a:gd name="connsiteY1" fmla="*/ 1897 h 1882340"/>
                <a:gd name="connsiteX2" fmla="*/ 0 w 7137039"/>
                <a:gd name="connsiteY2" fmla="*/ 0 h 1882340"/>
                <a:gd name="connsiteX0" fmla="*/ 6276168 w 7137039"/>
                <a:gd name="connsiteY0" fmla="*/ 1886133 h 1886133"/>
                <a:gd name="connsiteX1" fmla="*/ 7137039 w 7137039"/>
                <a:gd name="connsiteY1" fmla="*/ 1897 h 1886133"/>
                <a:gd name="connsiteX2" fmla="*/ 0 w 7137039"/>
                <a:gd name="connsiteY2" fmla="*/ 0 h 1886133"/>
                <a:gd name="connsiteX0" fmla="*/ 6291410 w 7152281"/>
                <a:gd name="connsiteY0" fmla="*/ 1884236 h 1884236"/>
                <a:gd name="connsiteX1" fmla="*/ 7152281 w 7152281"/>
                <a:gd name="connsiteY1" fmla="*/ 0 h 1884236"/>
                <a:gd name="connsiteX2" fmla="*/ 0 w 7152281"/>
                <a:gd name="connsiteY2" fmla="*/ 0 h 1884236"/>
                <a:gd name="connsiteX0" fmla="*/ 6293315 w 7154186"/>
                <a:gd name="connsiteY0" fmla="*/ 1884236 h 1884236"/>
                <a:gd name="connsiteX1" fmla="*/ 7154186 w 7154186"/>
                <a:gd name="connsiteY1" fmla="*/ 0 h 1884236"/>
                <a:gd name="connsiteX2" fmla="*/ 0 w 7154186"/>
                <a:gd name="connsiteY2" fmla="*/ 0 h 1884236"/>
                <a:gd name="connsiteX0" fmla="*/ 6295220 w 7156091"/>
                <a:gd name="connsiteY0" fmla="*/ 1884236 h 1884236"/>
                <a:gd name="connsiteX1" fmla="*/ 7156091 w 7156091"/>
                <a:gd name="connsiteY1" fmla="*/ 0 h 1884236"/>
                <a:gd name="connsiteX2" fmla="*/ 0 w 7156091"/>
                <a:gd name="connsiteY2" fmla="*/ 0 h 1884236"/>
              </a:gdLst>
              <a:ahLst/>
              <a:cxnLst>
                <a:cxn ang="0">
                  <a:pos x="connsiteX0" y="connsiteY0"/>
                </a:cxn>
                <a:cxn ang="0">
                  <a:pos x="connsiteX1" y="connsiteY1"/>
                </a:cxn>
                <a:cxn ang="0">
                  <a:pos x="connsiteX2" y="connsiteY2"/>
                </a:cxn>
              </a:cxnLst>
              <a:rect l="l" t="t" r="r" b="b"/>
              <a:pathLst>
                <a:path w="7156091" h="1884236">
                  <a:moveTo>
                    <a:pt x="6295220" y="1884236"/>
                  </a:moveTo>
                  <a:lnTo>
                    <a:pt x="7156091" y="0"/>
                  </a:lnTo>
                  <a:lnTo>
                    <a:pt x="0" y="0"/>
                  </a:lnTo>
                </a:path>
              </a:pathLst>
            </a:cu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sp>
          <p:nvSpPr>
            <p:cNvPr id="31" name="Volný tvar 30"/>
            <p:cNvSpPr/>
            <p:nvPr userDrawn="1"/>
          </p:nvSpPr>
          <p:spPr>
            <a:xfrm>
              <a:off x="-1" y="-1905"/>
              <a:ext cx="8678465" cy="4438313"/>
            </a:xfrm>
            <a:custGeom>
              <a:avLst/>
              <a:gdLst>
                <a:gd name="connsiteX0" fmla="*/ 9084733 w 9084733"/>
                <a:gd name="connsiteY0" fmla="*/ 1549400 h 3623734"/>
                <a:gd name="connsiteX1" fmla="*/ 1659466 w 9084733"/>
                <a:gd name="connsiteY1" fmla="*/ 0 h 3623734"/>
                <a:gd name="connsiteX2" fmla="*/ 0 w 9084733"/>
                <a:gd name="connsiteY2" fmla="*/ 0 h 3623734"/>
                <a:gd name="connsiteX3" fmla="*/ 0 w 9084733"/>
                <a:gd name="connsiteY3" fmla="*/ 3623734 h 3623734"/>
                <a:gd name="connsiteX0" fmla="*/ 9071408 w 9071408"/>
                <a:gd name="connsiteY0" fmla="*/ 1547495 h 3623734"/>
                <a:gd name="connsiteX1" fmla="*/ 1659466 w 9071408"/>
                <a:gd name="connsiteY1" fmla="*/ 0 h 3623734"/>
                <a:gd name="connsiteX2" fmla="*/ 0 w 9071408"/>
                <a:gd name="connsiteY2" fmla="*/ 0 h 3623734"/>
                <a:gd name="connsiteX3" fmla="*/ 0 w 9071408"/>
                <a:gd name="connsiteY3" fmla="*/ 3623734 h 3623734"/>
                <a:gd name="connsiteX0" fmla="*/ 9073312 w 9073312"/>
                <a:gd name="connsiteY0" fmla="*/ 1547495 h 4437340"/>
                <a:gd name="connsiteX1" fmla="*/ 1661370 w 9073312"/>
                <a:gd name="connsiteY1" fmla="*/ 0 h 4437340"/>
                <a:gd name="connsiteX2" fmla="*/ 1904 w 9073312"/>
                <a:gd name="connsiteY2" fmla="*/ 0 h 4437340"/>
                <a:gd name="connsiteX3" fmla="*/ 0 w 9073312"/>
                <a:gd name="connsiteY3" fmla="*/ 4437340 h 4437340"/>
                <a:gd name="connsiteX0" fmla="*/ 9071408 w 9071408"/>
                <a:gd name="connsiteY0" fmla="*/ 1547495 h 4437340"/>
                <a:gd name="connsiteX1" fmla="*/ 1659466 w 9071408"/>
                <a:gd name="connsiteY1" fmla="*/ 0 h 4437340"/>
                <a:gd name="connsiteX2" fmla="*/ 0 w 9071408"/>
                <a:gd name="connsiteY2" fmla="*/ 0 h 4437340"/>
                <a:gd name="connsiteX3" fmla="*/ 0 w 9071408"/>
                <a:gd name="connsiteY3" fmla="*/ 4437340 h 4437340"/>
                <a:gd name="connsiteX0" fmla="*/ 8667864 w 8667864"/>
                <a:gd name="connsiteY0" fmla="*/ 1894278 h 4437340"/>
                <a:gd name="connsiteX1" fmla="*/ 1659466 w 8667864"/>
                <a:gd name="connsiteY1" fmla="*/ 0 h 4437340"/>
                <a:gd name="connsiteX2" fmla="*/ 0 w 8667864"/>
                <a:gd name="connsiteY2" fmla="*/ 0 h 4437340"/>
                <a:gd name="connsiteX3" fmla="*/ 0 w 8667864"/>
                <a:gd name="connsiteY3" fmla="*/ 4437340 h 4437340"/>
                <a:gd name="connsiteX0" fmla="*/ 8667864 w 8667864"/>
                <a:gd name="connsiteY0" fmla="*/ 1896183 h 4439245"/>
                <a:gd name="connsiteX1" fmla="*/ 2373282 w 8667864"/>
                <a:gd name="connsiteY1" fmla="*/ 0 h 4439245"/>
                <a:gd name="connsiteX2" fmla="*/ 0 w 8667864"/>
                <a:gd name="connsiteY2" fmla="*/ 1905 h 4439245"/>
                <a:gd name="connsiteX3" fmla="*/ 0 w 8667864"/>
                <a:gd name="connsiteY3" fmla="*/ 4439245 h 4439245"/>
                <a:gd name="connsiteX0" fmla="*/ 8671671 w 8671671"/>
                <a:gd name="connsiteY0" fmla="*/ 1894278 h 4439245"/>
                <a:gd name="connsiteX1" fmla="*/ 2373282 w 8671671"/>
                <a:gd name="connsiteY1" fmla="*/ 0 h 4439245"/>
                <a:gd name="connsiteX2" fmla="*/ 0 w 8671671"/>
                <a:gd name="connsiteY2" fmla="*/ 1905 h 4439245"/>
                <a:gd name="connsiteX3" fmla="*/ 0 w 8671671"/>
                <a:gd name="connsiteY3" fmla="*/ 4439245 h 4439245"/>
              </a:gdLst>
              <a:ahLst/>
              <a:cxnLst>
                <a:cxn ang="0">
                  <a:pos x="connsiteX0" y="connsiteY0"/>
                </a:cxn>
                <a:cxn ang="0">
                  <a:pos x="connsiteX1" y="connsiteY1"/>
                </a:cxn>
                <a:cxn ang="0">
                  <a:pos x="connsiteX2" y="connsiteY2"/>
                </a:cxn>
                <a:cxn ang="0">
                  <a:pos x="connsiteX3" y="connsiteY3"/>
                </a:cxn>
              </a:cxnLst>
              <a:rect l="l" t="t" r="r" b="b"/>
              <a:pathLst>
                <a:path w="8671671" h="4439245">
                  <a:moveTo>
                    <a:pt x="8671671" y="1894278"/>
                  </a:moveTo>
                  <a:lnTo>
                    <a:pt x="2373282" y="0"/>
                  </a:lnTo>
                  <a:lnTo>
                    <a:pt x="0" y="1905"/>
                  </a:lnTo>
                  <a:lnTo>
                    <a:pt x="0" y="4439245"/>
                  </a:lnTo>
                </a:path>
              </a:pathLst>
            </a:cu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100" noProof="0" dirty="0">
                <a:solidFill>
                  <a:schemeClr val="tx1"/>
                </a:solidFill>
                <a:latin typeface="SKODA Next" panose="020B0504020603020204" pitchFamily="34" charset="0"/>
                <a:cs typeface="Arial" panose="020B0604020202020204" pitchFamily="34" charset="0"/>
              </a:endParaRPr>
            </a:p>
          </p:txBody>
        </p:sp>
        <p:pic>
          <p:nvPicPr>
            <p:cNvPr id="32" name="Obrázek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19849" y="1054894"/>
              <a:ext cx="1224000" cy="1622866"/>
            </a:xfrm>
            <a:prstGeom prst="rect">
              <a:avLst/>
            </a:prstGeom>
          </p:spPr>
        </p:pic>
      </p:grpSp>
      <p:graphicFrame>
        <p:nvGraphicFramePr>
          <p:cNvPr id="3" name="Objek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99" imgH="398" progId="TCLayout.ActiveDocument.1">
                  <p:embed/>
                </p:oleObj>
              </mc:Choice>
              <mc:Fallback>
                <p:oleObj name="think-cell Slide" r:id="rId5" imgW="399" imgH="398" progId="TCLayout.ActiveDocument.1">
                  <p:embed/>
                  <p:pic>
                    <p:nvPicPr>
                      <p:cNvPr id="3" name="Objekt 2"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Nadpis 6"/>
          <p:cNvSpPr>
            <a:spLocks noGrp="1"/>
          </p:cNvSpPr>
          <p:nvPr>
            <p:ph type="title" hasCustomPrompt="1"/>
          </p:nvPr>
        </p:nvSpPr>
        <p:spPr>
          <a:xfrm>
            <a:off x="342848" y="1638000"/>
            <a:ext cx="8278865" cy="540000"/>
          </a:xfrm>
        </p:spPr>
        <p:txBody>
          <a:bodyPr anchor="t" anchorCtr="0">
            <a:noAutofit/>
          </a:bodyPr>
          <a:lstStyle>
            <a:lvl1pPr>
              <a:lnSpc>
                <a:spcPts val="4400"/>
              </a:lnSpc>
              <a:defRPr sz="3600" cap="all" baseline="0">
                <a:solidFill>
                  <a:schemeClr val="bg1"/>
                </a:solidFill>
                <a:latin typeface="SKODA Next" panose="020B0504020603020204" pitchFamily="34" charset="0"/>
              </a:defRPr>
            </a:lvl1pPr>
          </a:lstStyle>
          <a:p>
            <a:r>
              <a:rPr lang="cs-CZ" noProof="0" dirty="0"/>
              <a:t>Název prezentace</a:t>
            </a:r>
          </a:p>
        </p:txBody>
      </p:sp>
      <p:sp>
        <p:nvSpPr>
          <p:cNvPr id="15" name="Zástupný symbol pro text 14"/>
          <p:cNvSpPr>
            <a:spLocks noGrp="1"/>
          </p:cNvSpPr>
          <p:nvPr>
            <p:ph type="body" sz="quarter" idx="13" hasCustomPrompt="1"/>
          </p:nvPr>
        </p:nvSpPr>
        <p:spPr>
          <a:xfrm>
            <a:off x="341948" y="5506843"/>
            <a:ext cx="5183231" cy="323932"/>
          </a:xfrm>
        </p:spPr>
        <p:txBody>
          <a:bodyPr vert="horz" lIns="0" tIns="0" rIns="0" bIns="0" rtlCol="0" anchor="b" anchorCtr="0">
            <a:noAutofit/>
          </a:bodyPr>
          <a:lstStyle>
            <a:lvl1pPr marL="180000" indent="-180000">
              <a:buNone/>
              <a:defRPr lang="cs-CZ" sz="2000" noProof="0" dirty="0">
                <a:solidFill>
                  <a:schemeClr val="bg1"/>
                </a:solidFill>
                <a:effectLst>
                  <a:glow rad="254000">
                    <a:schemeClr val="tx1">
                      <a:alpha val="34000"/>
                    </a:schemeClr>
                  </a:glow>
                </a:effectLst>
              </a:defRPr>
            </a:lvl1pPr>
          </a:lstStyle>
          <a:p>
            <a:pPr marL="0" lvl="0" indent="0">
              <a:lnSpc>
                <a:spcPts val="2400"/>
              </a:lnSpc>
            </a:pPr>
            <a:r>
              <a:rPr lang="cs-CZ" noProof="0" dirty="0"/>
              <a:t>Jméno</a:t>
            </a:r>
          </a:p>
        </p:txBody>
      </p:sp>
      <p:sp>
        <p:nvSpPr>
          <p:cNvPr id="17" name="Zástupný symbol pro text 16"/>
          <p:cNvSpPr>
            <a:spLocks noGrp="1"/>
          </p:cNvSpPr>
          <p:nvPr>
            <p:ph type="body" sz="quarter" idx="14" hasCustomPrompt="1"/>
          </p:nvPr>
        </p:nvSpPr>
        <p:spPr>
          <a:xfrm>
            <a:off x="341948" y="6298677"/>
            <a:ext cx="5183231" cy="323932"/>
          </a:xfrm>
        </p:spPr>
        <p:txBody>
          <a:bodyPr vert="horz" lIns="0" tIns="0" rIns="0" bIns="0" rtlCol="0" anchor="b" anchorCtr="0">
            <a:noAutofit/>
          </a:bodyPr>
          <a:lstStyle>
            <a:lvl1pPr marL="180000" indent="-180000">
              <a:buNone/>
              <a:defRPr lang="cs-CZ" sz="2000" noProof="0" dirty="0">
                <a:solidFill>
                  <a:schemeClr val="bg1"/>
                </a:solidFill>
                <a:effectLst>
                  <a:glow rad="254000">
                    <a:schemeClr val="tx1">
                      <a:alpha val="34000"/>
                    </a:schemeClr>
                  </a:glow>
                </a:effectLst>
              </a:defRPr>
            </a:lvl1pPr>
          </a:lstStyle>
          <a:p>
            <a:pPr marL="0" lvl="0" indent="0">
              <a:lnSpc>
                <a:spcPts val="2400"/>
              </a:lnSpc>
            </a:pPr>
            <a:r>
              <a:rPr lang="cs-CZ" sz="2000" noProof="0" dirty="0"/>
              <a:t>XX.XX.2017</a:t>
            </a:r>
            <a:endParaRPr lang="cs-CZ" noProof="0" dirty="0"/>
          </a:p>
        </p:txBody>
      </p:sp>
      <p:sp>
        <p:nvSpPr>
          <p:cNvPr id="19" name="Zástupný symbol pro text 18"/>
          <p:cNvSpPr>
            <a:spLocks noGrp="1"/>
          </p:cNvSpPr>
          <p:nvPr>
            <p:ph type="body" sz="quarter" idx="15" hasCustomPrompt="1"/>
          </p:nvPr>
        </p:nvSpPr>
        <p:spPr>
          <a:xfrm>
            <a:off x="342849" y="2358000"/>
            <a:ext cx="6550641" cy="719849"/>
          </a:xfrm>
        </p:spPr>
        <p:txBody>
          <a:bodyPr>
            <a:noAutofit/>
          </a:bodyPr>
          <a:lstStyle>
            <a:lvl1pPr marL="0" indent="0">
              <a:lnSpc>
                <a:spcPts val="2400"/>
              </a:lnSpc>
              <a:buFont typeface="Arial" panose="020B0604020202020204" pitchFamily="34" charset="0"/>
              <a:buNone/>
              <a:defRPr sz="2000">
                <a:solidFill>
                  <a:schemeClr val="bg1"/>
                </a:solidFill>
                <a:latin typeface="SKODA Next" panose="020B0504020603020204" pitchFamily="34" charset="0"/>
              </a:defRPr>
            </a:lvl1pPr>
          </a:lstStyle>
          <a:p>
            <a:pPr lvl="0"/>
            <a:r>
              <a:rPr lang="cs-CZ" noProof="0" dirty="0"/>
              <a:t>Dodatečné informace</a:t>
            </a:r>
          </a:p>
        </p:txBody>
      </p:sp>
      <p:sp>
        <p:nvSpPr>
          <p:cNvPr id="21" name="Zástupný symbol pro text 20"/>
          <p:cNvSpPr>
            <a:spLocks noGrp="1"/>
          </p:cNvSpPr>
          <p:nvPr>
            <p:ph type="body" sz="quarter" idx="16" hasCustomPrompt="1"/>
          </p:nvPr>
        </p:nvSpPr>
        <p:spPr>
          <a:xfrm>
            <a:off x="341949" y="5902760"/>
            <a:ext cx="5183231" cy="323932"/>
          </a:xfrm>
        </p:spPr>
        <p:txBody>
          <a:bodyPr vert="horz" lIns="0" tIns="0" rIns="0" bIns="0" rtlCol="0" anchor="b" anchorCtr="0">
            <a:noAutofit/>
          </a:bodyPr>
          <a:lstStyle>
            <a:lvl1pPr marL="180000" indent="-180000">
              <a:buNone/>
              <a:defRPr lang="cs-CZ" sz="2000" noProof="0" dirty="0">
                <a:solidFill>
                  <a:schemeClr val="bg1"/>
                </a:solidFill>
                <a:effectLst>
                  <a:glow rad="254000">
                    <a:schemeClr val="tx1">
                      <a:alpha val="34000"/>
                    </a:schemeClr>
                  </a:glow>
                </a:effectLst>
              </a:defRPr>
            </a:lvl1pPr>
          </a:lstStyle>
          <a:p>
            <a:pPr marL="0" lvl="0" indent="0">
              <a:lnSpc>
                <a:spcPts val="2400"/>
              </a:lnSpc>
            </a:pPr>
            <a:r>
              <a:rPr lang="cs-CZ" noProof="0" dirty="0"/>
              <a:t>Oddělení</a:t>
            </a:r>
          </a:p>
        </p:txBody>
      </p:sp>
      <p:sp>
        <p:nvSpPr>
          <p:cNvPr id="16" name="Zástupný symbol pro číslo snímku 5"/>
          <p:cNvSpPr>
            <a:spLocks noGrp="1"/>
          </p:cNvSpPr>
          <p:nvPr>
            <p:ph type="sldNum" sz="quarter" idx="10"/>
          </p:nvPr>
        </p:nvSpPr>
        <p:spPr>
          <a:xfrm>
            <a:off x="342849" y="7162496"/>
            <a:ext cx="269960" cy="179962"/>
          </a:xfrm>
        </p:spPr>
        <p:txBody>
          <a:bodyPr/>
          <a:lstStyle>
            <a:lvl1pPr>
              <a:defRPr>
                <a:noFill/>
                <a:latin typeface="SKODA Next" panose="020B0504020603020204" pitchFamily="34" charset="0"/>
              </a:defRPr>
            </a:lvl1pPr>
          </a:lstStyle>
          <a:p>
            <a:fld id="{1E956721-BB38-4972-8ACD-5A2C9377E3B4}" type="slidenum">
              <a:rPr lang="cs-CZ" smtClean="0"/>
              <a:pPr/>
              <a:t>‹#›</a:t>
            </a:fld>
            <a:endParaRPr lang="cs-CZ" dirty="0"/>
          </a:p>
        </p:txBody>
      </p:sp>
      <p:sp>
        <p:nvSpPr>
          <p:cNvPr id="22" name="Zástupný symbol pro zápatí 6"/>
          <p:cNvSpPr>
            <a:spLocks noGrp="1"/>
          </p:cNvSpPr>
          <p:nvPr>
            <p:ph type="ftr" sz="quarter" idx="11"/>
          </p:nvPr>
        </p:nvSpPr>
        <p:spPr>
          <a:xfrm>
            <a:off x="719894" y="7162496"/>
            <a:ext cx="6173596" cy="179962"/>
          </a:xfrm>
        </p:spPr>
        <p:txBody>
          <a:bodyPr/>
          <a:lstStyle>
            <a:lvl1pPr>
              <a:defRPr>
                <a:noFill/>
                <a:latin typeface="SKODA Next" panose="020B0504020603020204" pitchFamily="34" charset="0"/>
              </a:defRPr>
            </a:lvl1pPr>
          </a:lstStyle>
          <a:p>
            <a:endParaRPr lang="cs-CZ" dirty="0"/>
          </a:p>
        </p:txBody>
      </p:sp>
      <p:sp>
        <p:nvSpPr>
          <p:cNvPr id="18" name="TextovéPole 17"/>
          <p:cNvSpPr txBox="1"/>
          <p:nvPr userDrawn="1"/>
        </p:nvSpPr>
        <p:spPr>
          <a:xfrm>
            <a:off x="9720000" y="7358802"/>
            <a:ext cx="720000" cy="108000"/>
          </a:xfrm>
          <a:prstGeom prst="rect">
            <a:avLst/>
          </a:prstGeom>
          <a:noFill/>
        </p:spPr>
        <p:txBody>
          <a:bodyPr wrap="square" lIns="0" tIns="0" rIns="0" bIns="0" rtlCol="0" anchor="b" anchorCtr="0">
            <a:normAutofit/>
          </a:bodyPr>
          <a:lstStyle/>
          <a:p>
            <a:pPr algn="r"/>
            <a:r>
              <a:rPr lang="en-GB" sz="700" b="1" noProof="0" dirty="0">
                <a:solidFill>
                  <a:schemeClr val="bg1"/>
                </a:solidFill>
                <a:effectLst>
                  <a:glow rad="254000">
                    <a:schemeClr val="tx1">
                      <a:alpha val="34000"/>
                    </a:schemeClr>
                  </a:glow>
                </a:effectLst>
                <a:latin typeface="SKODA Next" panose="020B0504020603020204" pitchFamily="34" charset="0"/>
                <a:cs typeface="Arial" panose="020B0604020202020204" pitchFamily="34" charset="0"/>
              </a:rPr>
              <a:t>CONFIDENTIAL</a:t>
            </a:r>
          </a:p>
        </p:txBody>
      </p:sp>
    </p:spTree>
    <p:extLst>
      <p:ext uri="{BB962C8B-B14F-4D97-AF65-F5344CB8AC3E}">
        <p14:creationId xmlns:p14="http://schemas.microsoft.com/office/powerpoint/2010/main" val="8450880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
    <p:spTree>
      <p:nvGrpSpPr>
        <p:cNvPr id="1" name=""/>
        <p:cNvGrpSpPr/>
        <p:nvPr/>
      </p:nvGrpSpPr>
      <p:grpSpPr>
        <a:xfrm>
          <a:off x="0" y="0"/>
          <a:ext cx="0" cy="0"/>
          <a:chOff x="0" y="0"/>
          <a:chExt cx="0" cy="0"/>
        </a:xfrm>
      </p:grpSpPr>
      <p:sp>
        <p:nvSpPr>
          <p:cNvPr id="3" name="Zástupný symbol pro obsah 2"/>
          <p:cNvSpPr>
            <a:spLocks noGrp="1"/>
          </p:cNvSpPr>
          <p:nvPr>
            <p:ph idx="1" hasCustomPrompt="1"/>
          </p:nvPr>
        </p:nvSpPr>
        <p:spPr>
          <a:xfrm>
            <a:off x="342850" y="1439561"/>
            <a:ext cx="10006115"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29"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0" name="Nadpis 29"/>
          <p:cNvSpPr>
            <a:spLocks noGrp="1"/>
          </p:cNvSpPr>
          <p:nvPr>
            <p:ph type="title" hasCustomPrompt="1"/>
          </p:nvPr>
        </p:nvSpPr>
        <p:spPr/>
        <p:txBody>
          <a:bodyPr/>
          <a:lstStyle>
            <a:lvl1pPr>
              <a:defRPr/>
            </a:lvl1pPr>
          </a:lstStyle>
          <a:p>
            <a:r>
              <a:rPr lang="cs-CZ" noProof="0" dirty="0"/>
              <a:t>Nadpis (shrnutí stránky)</a:t>
            </a:r>
          </a:p>
        </p:txBody>
      </p:sp>
    </p:spTree>
    <p:extLst>
      <p:ext uri="{BB962C8B-B14F-4D97-AF65-F5344CB8AC3E}">
        <p14:creationId xmlns:p14="http://schemas.microsoft.com/office/powerpoint/2010/main" val="344936857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3" name="Zástupný symbol pro obsah 2"/>
          <p:cNvSpPr>
            <a:spLocks noGrp="1"/>
          </p:cNvSpPr>
          <p:nvPr>
            <p:ph idx="1" hasCustomPrompt="1"/>
          </p:nvPr>
        </p:nvSpPr>
        <p:spPr>
          <a:xfrm>
            <a:off x="342851" y="1439561"/>
            <a:ext cx="4823697"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29"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0" name="Nadpis 29"/>
          <p:cNvSpPr>
            <a:spLocks noGrp="1"/>
          </p:cNvSpPr>
          <p:nvPr>
            <p:ph type="title" hasCustomPrompt="1"/>
          </p:nvPr>
        </p:nvSpPr>
        <p:spPr/>
        <p:txBody>
          <a:bodyPr/>
          <a:lstStyle>
            <a:lvl1pPr>
              <a:defRPr/>
            </a:lvl1pPr>
          </a:lstStyle>
          <a:p>
            <a:r>
              <a:rPr lang="cs-CZ" noProof="0" dirty="0"/>
              <a:t>Nadpis (shrnutí stránky)</a:t>
            </a:r>
          </a:p>
        </p:txBody>
      </p:sp>
      <p:sp>
        <p:nvSpPr>
          <p:cNvPr id="9" name="Zástupný symbol pro obsah 2"/>
          <p:cNvSpPr>
            <a:spLocks noGrp="1"/>
          </p:cNvSpPr>
          <p:nvPr>
            <p:ph idx="13" hasCustomPrompt="1"/>
          </p:nvPr>
        </p:nvSpPr>
        <p:spPr>
          <a:xfrm>
            <a:off x="5525268" y="1439561"/>
            <a:ext cx="4823697"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Tree>
    <p:extLst>
      <p:ext uri="{BB962C8B-B14F-4D97-AF65-F5344CB8AC3E}">
        <p14:creationId xmlns:p14="http://schemas.microsoft.com/office/powerpoint/2010/main" val="460831362"/>
      </p:ext>
    </p:extLst>
  </p:cSld>
  <p:clrMapOvr>
    <a:masterClrMapping/>
  </p:clrMapOvr>
  <p:extLst>
    <p:ext uri="{DCECCB84-F9BA-43D5-87BE-67443E8EF086}">
      <p15:sldGuideLst xmlns:p15="http://schemas.microsoft.com/office/powerpoint/2012/main">
        <p15:guide id="1" pos="3368"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ntents">
    <p:spTree>
      <p:nvGrpSpPr>
        <p:cNvPr id="1" name=""/>
        <p:cNvGrpSpPr/>
        <p:nvPr/>
      </p:nvGrpSpPr>
      <p:grpSpPr>
        <a:xfrm>
          <a:off x="0" y="0"/>
          <a:ext cx="0" cy="0"/>
          <a:chOff x="0" y="0"/>
          <a:chExt cx="0" cy="0"/>
        </a:xfrm>
      </p:grpSpPr>
      <p:sp>
        <p:nvSpPr>
          <p:cNvPr id="3" name="Zástupný symbol pro obsah 2"/>
          <p:cNvSpPr>
            <a:spLocks noGrp="1"/>
          </p:cNvSpPr>
          <p:nvPr>
            <p:ph idx="1" hasCustomPrompt="1"/>
          </p:nvPr>
        </p:nvSpPr>
        <p:spPr>
          <a:xfrm>
            <a:off x="342849" y="1439561"/>
            <a:ext cx="3095166"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29"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0" name="Nadpis 29"/>
          <p:cNvSpPr>
            <a:spLocks noGrp="1"/>
          </p:cNvSpPr>
          <p:nvPr>
            <p:ph type="title" hasCustomPrompt="1"/>
          </p:nvPr>
        </p:nvSpPr>
        <p:spPr/>
        <p:txBody>
          <a:bodyPr/>
          <a:lstStyle>
            <a:lvl1pPr>
              <a:defRPr/>
            </a:lvl1pPr>
          </a:lstStyle>
          <a:p>
            <a:r>
              <a:rPr lang="cs-CZ" noProof="0" dirty="0"/>
              <a:t>Nadpis (shrnutí stránky)</a:t>
            </a:r>
          </a:p>
        </p:txBody>
      </p:sp>
      <p:sp>
        <p:nvSpPr>
          <p:cNvPr id="10" name="Zástupný symbol pro obsah 2"/>
          <p:cNvSpPr>
            <a:spLocks noGrp="1"/>
          </p:cNvSpPr>
          <p:nvPr>
            <p:ph idx="13" hasCustomPrompt="1"/>
          </p:nvPr>
        </p:nvSpPr>
        <p:spPr>
          <a:xfrm>
            <a:off x="3798324" y="1439561"/>
            <a:ext cx="3095166"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11" name="Zástupný symbol pro obsah 2"/>
          <p:cNvSpPr>
            <a:spLocks noGrp="1"/>
          </p:cNvSpPr>
          <p:nvPr>
            <p:ph idx="14" hasCustomPrompt="1"/>
          </p:nvPr>
        </p:nvSpPr>
        <p:spPr>
          <a:xfrm>
            <a:off x="7253800" y="1439561"/>
            <a:ext cx="3095166"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Tree>
    <p:extLst>
      <p:ext uri="{BB962C8B-B14F-4D97-AF65-F5344CB8AC3E}">
        <p14:creationId xmlns:p14="http://schemas.microsoft.com/office/powerpoint/2010/main" val="2256701574"/>
      </p:ext>
    </p:extLst>
  </p:cSld>
  <p:clrMapOvr>
    <a:masterClrMapping/>
  </p:clrMapOvr>
  <p:extLst>
    <p:ext uri="{DCECCB84-F9BA-43D5-87BE-67443E8EF086}">
      <p15:sldGuideLst xmlns:p15="http://schemas.microsoft.com/office/powerpoint/2012/main">
        <p15:guide id="1" pos="3368"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9" name="Zástupný symbol pro text 8"/>
          <p:cNvSpPr>
            <a:spLocks noGrp="1"/>
          </p:cNvSpPr>
          <p:nvPr>
            <p:ph type="body" sz="quarter" idx="12" hasCustomPrompt="1"/>
          </p:nvPr>
        </p:nvSpPr>
        <p:spPr>
          <a:xfrm>
            <a:off x="341950" y="1439560"/>
            <a:ext cx="3096065" cy="5183048"/>
          </a:xfrm>
        </p:spPr>
        <p:txBody>
          <a:bodyPr/>
          <a:lstStyle>
            <a:lvl1pPr>
              <a:defRPr>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11" name="Zástupný symbol pro obrázek 10"/>
          <p:cNvSpPr>
            <a:spLocks noGrp="1"/>
          </p:cNvSpPr>
          <p:nvPr>
            <p:ph type="pic" sz="quarter" idx="13" hasCustomPrompt="1"/>
          </p:nvPr>
        </p:nvSpPr>
        <p:spPr>
          <a:xfrm>
            <a:off x="3797436" y="1439560"/>
            <a:ext cx="6551028" cy="5183048"/>
          </a:xfrm>
        </p:spPr>
        <p:txBody>
          <a:bodyPr/>
          <a:lstStyle>
            <a:lvl1pPr algn="l">
              <a:buFontTx/>
              <a:buNone/>
              <a:defRPr>
                <a:latin typeface="SKODA Next" panose="020B0504020603020204" pitchFamily="34" charset="0"/>
              </a:defRPr>
            </a:lvl1pPr>
          </a:lstStyle>
          <a:p>
            <a:r>
              <a:rPr lang="cs-CZ" noProof="0" dirty="0"/>
              <a:t>Obrázek</a:t>
            </a:r>
          </a:p>
        </p:txBody>
      </p:sp>
      <p:sp>
        <p:nvSpPr>
          <p:cNvPr id="15" name="Zástupný symbol pro text 28"/>
          <p:cNvSpPr>
            <a:spLocks noGrp="1"/>
          </p:cNvSpPr>
          <p:nvPr>
            <p:ph type="body" sz="quarter" idx="14"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4" name="Nadpis 3"/>
          <p:cNvSpPr>
            <a:spLocks noGrp="1"/>
          </p:cNvSpPr>
          <p:nvPr>
            <p:ph type="title" hasCustomPrompt="1"/>
          </p:nvPr>
        </p:nvSpPr>
        <p:spPr/>
        <p:txBody>
          <a:bodyPr/>
          <a:lstStyle>
            <a:lvl1pPr>
              <a:defRPr/>
            </a:lvl1pPr>
          </a:lstStyle>
          <a:p>
            <a:r>
              <a:rPr lang="cs-CZ" noProof="0" dirty="0"/>
              <a:t>Nadpis (shrnutí stránky)</a:t>
            </a:r>
          </a:p>
        </p:txBody>
      </p:sp>
    </p:spTree>
    <p:extLst>
      <p:ext uri="{BB962C8B-B14F-4D97-AF65-F5344CB8AC3E}">
        <p14:creationId xmlns:p14="http://schemas.microsoft.com/office/powerpoint/2010/main" val="1394461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11" name="Zástupný symbol pro obrázek 10"/>
          <p:cNvSpPr>
            <a:spLocks noGrp="1"/>
          </p:cNvSpPr>
          <p:nvPr>
            <p:ph type="pic" sz="quarter" idx="13" hasCustomPrompt="1"/>
          </p:nvPr>
        </p:nvSpPr>
        <p:spPr>
          <a:xfrm>
            <a:off x="341949" y="1439562"/>
            <a:ext cx="10006515" cy="5183685"/>
          </a:xfrm>
        </p:spPr>
        <p:txBody>
          <a:bodyPr/>
          <a:lstStyle>
            <a:lvl1pPr algn="l">
              <a:buFontTx/>
              <a:buNone/>
              <a:defRPr>
                <a:latin typeface="SKODA Next" panose="020B0504020603020204" pitchFamily="34" charset="0"/>
              </a:defRPr>
            </a:lvl1pPr>
          </a:lstStyle>
          <a:p>
            <a:r>
              <a:rPr lang="cs-CZ" noProof="0" dirty="0"/>
              <a:t>Obrázek</a:t>
            </a:r>
          </a:p>
        </p:txBody>
      </p:sp>
      <p:sp>
        <p:nvSpPr>
          <p:cNvPr id="13"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2" name="Nadpis 1"/>
          <p:cNvSpPr>
            <a:spLocks noGrp="1"/>
          </p:cNvSpPr>
          <p:nvPr>
            <p:ph type="title" hasCustomPrompt="1"/>
          </p:nvPr>
        </p:nvSpPr>
        <p:spPr/>
        <p:txBody>
          <a:bodyPr/>
          <a:lstStyle>
            <a:lvl1pPr>
              <a:defRPr/>
            </a:lvl1pPr>
          </a:lstStyle>
          <a:p>
            <a:r>
              <a:rPr lang="cs-CZ" noProof="0" dirty="0"/>
              <a:t>Nadpis (shrnutí stránky)</a:t>
            </a:r>
          </a:p>
        </p:txBody>
      </p:sp>
    </p:spTree>
    <p:extLst>
      <p:ext uri="{BB962C8B-B14F-4D97-AF65-F5344CB8AC3E}">
        <p14:creationId xmlns:p14="http://schemas.microsoft.com/office/powerpoint/2010/main" val="19496327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with Header">
    <p:spTree>
      <p:nvGrpSpPr>
        <p:cNvPr id="1" name=""/>
        <p:cNvGrpSpPr/>
        <p:nvPr/>
      </p:nvGrpSpPr>
      <p:grpSpPr>
        <a:xfrm>
          <a:off x="0" y="0"/>
          <a:ext cx="0" cy="0"/>
          <a:chOff x="0" y="0"/>
          <a:chExt cx="0" cy="0"/>
        </a:xfrm>
      </p:grpSpPr>
      <p:sp>
        <p:nvSpPr>
          <p:cNvPr id="11" name="Zástupný symbol pro obrázek 10"/>
          <p:cNvSpPr>
            <a:spLocks noGrp="1"/>
          </p:cNvSpPr>
          <p:nvPr>
            <p:ph type="pic" sz="quarter" idx="13" hasCustomPrompt="1"/>
          </p:nvPr>
        </p:nvSpPr>
        <p:spPr>
          <a:xfrm>
            <a:off x="1" y="0"/>
            <a:ext cx="10691813" cy="6964537"/>
          </a:xfrm>
        </p:spPr>
        <p:txBody>
          <a:bodyPr/>
          <a:lstStyle>
            <a:lvl1pPr algn="l">
              <a:buFontTx/>
              <a:buNone/>
              <a:defRPr>
                <a:latin typeface="SKODA Next" panose="020B0504020603020204" pitchFamily="34" charset="0"/>
              </a:defRPr>
            </a:lvl1pPr>
          </a:lstStyle>
          <a:p>
            <a:r>
              <a:rPr lang="cs-CZ" noProof="0" dirty="0"/>
              <a:t>Obrázek</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Tree>
    <p:extLst>
      <p:ext uri="{BB962C8B-B14F-4D97-AF65-F5344CB8AC3E}">
        <p14:creationId xmlns:p14="http://schemas.microsoft.com/office/powerpoint/2010/main" val="25683712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ntents">
    <p:spTree>
      <p:nvGrpSpPr>
        <p:cNvPr id="1" name=""/>
        <p:cNvGrpSpPr/>
        <p:nvPr/>
      </p:nvGrpSpPr>
      <p:grpSpPr>
        <a:xfrm>
          <a:off x="0" y="0"/>
          <a:ext cx="0" cy="0"/>
          <a:chOff x="0" y="0"/>
          <a:chExt cx="0" cy="0"/>
        </a:xfrm>
      </p:grpSpPr>
      <p:sp>
        <p:nvSpPr>
          <p:cNvPr id="3" name="Zástupný symbol pro obsah 2"/>
          <p:cNvSpPr>
            <a:spLocks noGrp="1"/>
          </p:cNvSpPr>
          <p:nvPr>
            <p:ph idx="1" hasCustomPrompt="1"/>
          </p:nvPr>
        </p:nvSpPr>
        <p:spPr>
          <a:xfrm>
            <a:off x="342849" y="1439561"/>
            <a:ext cx="3095166"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29"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0" name="Nadpis 29"/>
          <p:cNvSpPr>
            <a:spLocks noGrp="1"/>
          </p:cNvSpPr>
          <p:nvPr>
            <p:ph type="title" hasCustomPrompt="1"/>
          </p:nvPr>
        </p:nvSpPr>
        <p:spPr/>
        <p:txBody>
          <a:bodyPr/>
          <a:lstStyle>
            <a:lvl1pPr>
              <a:defRPr/>
            </a:lvl1pPr>
          </a:lstStyle>
          <a:p>
            <a:r>
              <a:rPr lang="cs-CZ" noProof="0" dirty="0"/>
              <a:t>Nadpis (shrnutí stránky)</a:t>
            </a:r>
          </a:p>
        </p:txBody>
      </p:sp>
      <p:sp>
        <p:nvSpPr>
          <p:cNvPr id="10" name="Zástupný symbol pro obsah 2"/>
          <p:cNvSpPr>
            <a:spLocks noGrp="1"/>
          </p:cNvSpPr>
          <p:nvPr>
            <p:ph idx="13" hasCustomPrompt="1"/>
          </p:nvPr>
        </p:nvSpPr>
        <p:spPr>
          <a:xfrm>
            <a:off x="3798324" y="1439561"/>
            <a:ext cx="3095166"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11" name="Zástupný symbol pro obsah 2"/>
          <p:cNvSpPr>
            <a:spLocks noGrp="1"/>
          </p:cNvSpPr>
          <p:nvPr>
            <p:ph idx="14" hasCustomPrompt="1"/>
          </p:nvPr>
        </p:nvSpPr>
        <p:spPr>
          <a:xfrm>
            <a:off x="7253800" y="1439561"/>
            <a:ext cx="3095166" cy="5183686"/>
          </a:xfrm>
        </p:spPr>
        <p:txBody>
          <a:bodyPr/>
          <a:lstStyle>
            <a:lvl1pPr>
              <a:defRPr baseline="0">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Tree>
    <p:extLst>
      <p:ext uri="{BB962C8B-B14F-4D97-AF65-F5344CB8AC3E}">
        <p14:creationId xmlns:p14="http://schemas.microsoft.com/office/powerpoint/2010/main" val="2337353314"/>
      </p:ext>
    </p:extLst>
  </p:cSld>
  <p:clrMapOvr>
    <a:masterClrMapping/>
  </p:clrMapOvr>
  <p:extLst>
    <p:ext uri="{DCECCB84-F9BA-43D5-87BE-67443E8EF086}">
      <p15:sldGuideLst xmlns:p15="http://schemas.microsoft.com/office/powerpoint/2012/main">
        <p15:guide id="1" pos="3368"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utli Picture">
    <p:spTree>
      <p:nvGrpSpPr>
        <p:cNvPr id="1" name=""/>
        <p:cNvGrpSpPr/>
        <p:nvPr/>
      </p:nvGrpSpPr>
      <p:grpSpPr>
        <a:xfrm>
          <a:off x="0" y="0"/>
          <a:ext cx="0" cy="0"/>
          <a:chOff x="0" y="0"/>
          <a:chExt cx="0" cy="0"/>
        </a:xfrm>
      </p:grpSpPr>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11" name="Zástupný symbol pro obrázek 10"/>
          <p:cNvSpPr>
            <a:spLocks noGrp="1"/>
          </p:cNvSpPr>
          <p:nvPr>
            <p:ph type="pic" sz="quarter" idx="13" hasCustomPrompt="1"/>
          </p:nvPr>
        </p:nvSpPr>
        <p:spPr>
          <a:xfrm>
            <a:off x="342850" y="1439699"/>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3" name="Zástupný symbol pro text 12"/>
          <p:cNvSpPr>
            <a:spLocks noGrp="1"/>
          </p:cNvSpPr>
          <p:nvPr>
            <p:ph type="body" sz="quarter" idx="14" hasCustomPrompt="1"/>
          </p:nvPr>
        </p:nvSpPr>
        <p:spPr>
          <a:xfrm>
            <a:off x="342850" y="3743214"/>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14" name="Zástupný symbol pro obrázek 10"/>
          <p:cNvSpPr>
            <a:spLocks noGrp="1"/>
          </p:cNvSpPr>
          <p:nvPr>
            <p:ph type="pic" sz="quarter" idx="15" hasCustomPrompt="1"/>
          </p:nvPr>
        </p:nvSpPr>
        <p:spPr>
          <a:xfrm>
            <a:off x="342850" y="4139132"/>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5" name="Zástupný symbol pro text 12"/>
          <p:cNvSpPr>
            <a:spLocks noGrp="1"/>
          </p:cNvSpPr>
          <p:nvPr>
            <p:ph type="body" sz="quarter" idx="16" hasCustomPrompt="1"/>
          </p:nvPr>
        </p:nvSpPr>
        <p:spPr>
          <a:xfrm>
            <a:off x="342850" y="6442647"/>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16" name="Zástupný symbol pro obrázek 10"/>
          <p:cNvSpPr>
            <a:spLocks noGrp="1"/>
          </p:cNvSpPr>
          <p:nvPr>
            <p:ph type="pic" sz="quarter" idx="17" hasCustomPrompt="1"/>
          </p:nvPr>
        </p:nvSpPr>
        <p:spPr>
          <a:xfrm>
            <a:off x="5525268" y="1439699"/>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7" name="Zástupný symbol pro text 12"/>
          <p:cNvSpPr>
            <a:spLocks noGrp="1"/>
          </p:cNvSpPr>
          <p:nvPr>
            <p:ph type="body" sz="quarter" idx="18" hasCustomPrompt="1"/>
          </p:nvPr>
        </p:nvSpPr>
        <p:spPr>
          <a:xfrm>
            <a:off x="5525268" y="3743214"/>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18" name="Zástupný symbol pro obrázek 10"/>
          <p:cNvSpPr>
            <a:spLocks noGrp="1"/>
          </p:cNvSpPr>
          <p:nvPr>
            <p:ph type="pic" sz="quarter" idx="19" hasCustomPrompt="1"/>
          </p:nvPr>
        </p:nvSpPr>
        <p:spPr>
          <a:xfrm>
            <a:off x="5525268" y="4139132"/>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9" name="Zástupný symbol pro text 12"/>
          <p:cNvSpPr>
            <a:spLocks noGrp="1"/>
          </p:cNvSpPr>
          <p:nvPr>
            <p:ph type="body" sz="quarter" idx="20" hasCustomPrompt="1"/>
          </p:nvPr>
        </p:nvSpPr>
        <p:spPr>
          <a:xfrm>
            <a:off x="5525268" y="6442647"/>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24"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2" name="Nadpis 1"/>
          <p:cNvSpPr>
            <a:spLocks noGrp="1"/>
          </p:cNvSpPr>
          <p:nvPr>
            <p:ph type="title" hasCustomPrompt="1"/>
          </p:nvPr>
        </p:nvSpPr>
        <p:spPr/>
        <p:txBody>
          <a:bodyPr/>
          <a:lstStyle>
            <a:lvl1pPr>
              <a:defRPr/>
            </a:lvl1pPr>
          </a:lstStyle>
          <a:p>
            <a:r>
              <a:rPr lang="cs-CZ" noProof="0" dirty="0"/>
              <a:t>Nadpis (shrnutí stránky)</a:t>
            </a:r>
          </a:p>
        </p:txBody>
      </p:sp>
    </p:spTree>
    <p:extLst>
      <p:ext uri="{BB962C8B-B14F-4D97-AF65-F5344CB8AC3E}">
        <p14:creationId xmlns:p14="http://schemas.microsoft.com/office/powerpoint/2010/main" val="33099037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Next Chapter">
    <p:spTree>
      <p:nvGrpSpPr>
        <p:cNvPr id="1" name=""/>
        <p:cNvGrpSpPr/>
        <p:nvPr/>
      </p:nvGrpSpPr>
      <p:grpSpPr>
        <a:xfrm>
          <a:off x="0" y="0"/>
          <a:ext cx="0" cy="0"/>
          <a:chOff x="0" y="0"/>
          <a:chExt cx="0" cy="0"/>
        </a:xfrm>
      </p:grpSpPr>
      <p:sp>
        <p:nvSpPr>
          <p:cNvPr id="6" name="Zástupný symbol pro číslo snímku 5"/>
          <p:cNvSpPr>
            <a:spLocks noGrp="1"/>
          </p:cNvSpPr>
          <p:nvPr>
            <p:ph type="sldNum" sz="quarter" idx="10"/>
          </p:nvPr>
        </p:nvSpPr>
        <p:spPr/>
        <p:txBody>
          <a:bodyPr/>
          <a:lstStyle>
            <a:lvl1pPr>
              <a:defRPr>
                <a:solidFill>
                  <a:schemeClr val="tx1"/>
                </a:solidFill>
                <a:latin typeface="SKODA Next" panose="020B0504020603020204" pitchFamily="34" charset="0"/>
              </a:defRPr>
            </a:lvl1pPr>
          </a:lstStyle>
          <a:p>
            <a:fld id="{1E956721-BB38-4972-8ACD-5A2C9377E3B4}" type="slidenum">
              <a:rPr lang="cs-CZ" smtClean="0"/>
              <a:pPr/>
              <a:t>‹#›</a:t>
            </a:fld>
            <a:endParaRPr lang="cs-CZ" dirty="0"/>
          </a:p>
        </p:txBody>
      </p:sp>
      <p:sp>
        <p:nvSpPr>
          <p:cNvPr id="7" name="Zástupný symbol pro zápatí 6"/>
          <p:cNvSpPr>
            <a:spLocks noGrp="1"/>
          </p:cNvSpPr>
          <p:nvPr>
            <p:ph type="ftr" sz="quarter" idx="11"/>
          </p:nvPr>
        </p:nvSpPr>
        <p:spPr/>
        <p:txBody>
          <a:bodyPr/>
          <a:lstStyle>
            <a:lvl1pPr>
              <a:defRPr>
                <a:solidFill>
                  <a:schemeClr val="tx1"/>
                </a:solidFill>
                <a:latin typeface="SKODA Next" panose="020B0504020603020204" pitchFamily="34" charset="0"/>
              </a:defRPr>
            </a:lvl1pPr>
          </a:lstStyle>
          <a:p>
            <a:endParaRPr lang="cs-CZ" dirty="0"/>
          </a:p>
        </p:txBody>
      </p:sp>
      <p:sp>
        <p:nvSpPr>
          <p:cNvPr id="10"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3" name="Nadpis 2"/>
          <p:cNvSpPr>
            <a:spLocks noGrp="1"/>
          </p:cNvSpPr>
          <p:nvPr>
            <p:ph type="title" hasCustomPrompt="1"/>
          </p:nvPr>
        </p:nvSpPr>
        <p:spPr/>
        <p:txBody>
          <a:bodyPr/>
          <a:lstStyle>
            <a:lvl1pPr>
              <a:defRPr baseline="0"/>
            </a:lvl1pPr>
          </a:lstStyle>
          <a:p>
            <a:r>
              <a:rPr lang="cs-CZ" noProof="0" dirty="0"/>
              <a:t>Další kapitola</a:t>
            </a:r>
          </a:p>
        </p:txBody>
      </p:sp>
    </p:spTree>
    <p:extLst>
      <p:ext uri="{BB962C8B-B14F-4D97-AF65-F5344CB8AC3E}">
        <p14:creationId xmlns:p14="http://schemas.microsoft.com/office/powerpoint/2010/main" val="6973257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9" name="Zástupný symbol pro text 8"/>
          <p:cNvSpPr>
            <a:spLocks noGrp="1"/>
          </p:cNvSpPr>
          <p:nvPr>
            <p:ph type="body" sz="quarter" idx="12" hasCustomPrompt="1"/>
          </p:nvPr>
        </p:nvSpPr>
        <p:spPr>
          <a:xfrm>
            <a:off x="341950" y="1439560"/>
            <a:ext cx="3096065" cy="5183048"/>
          </a:xfrm>
        </p:spPr>
        <p:txBody>
          <a:bodyPr/>
          <a:lstStyle>
            <a:lvl1pPr>
              <a:defRPr>
                <a:latin typeface="SKODA Next" panose="020B0504020603020204" pitchFamily="34" charset="0"/>
              </a:defRPr>
            </a:lvl1pPr>
            <a:lvl2pPr>
              <a:defRPr>
                <a:latin typeface="SKODA Next" panose="020B0504020603020204" pitchFamily="34" charset="0"/>
              </a:defRPr>
            </a:lvl2pPr>
            <a:lvl3pPr>
              <a:defRPr>
                <a:latin typeface="SKODA Next" panose="020B0504020603020204" pitchFamily="34" charset="0"/>
              </a:defRPr>
            </a:lvl3pPr>
            <a:lvl4pPr>
              <a:defRPr>
                <a:latin typeface="SKODA Next" panose="020B0504020603020204" pitchFamily="34" charset="0"/>
              </a:defRPr>
            </a:lvl4pPr>
            <a:lvl5pPr>
              <a:defRPr>
                <a:latin typeface="SKODA Next" panose="020B0504020603020204" pitchFamily="34" charset="0"/>
              </a:defRPr>
            </a:lvl5p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11" name="Zástupný symbol pro obrázek 10"/>
          <p:cNvSpPr>
            <a:spLocks noGrp="1"/>
          </p:cNvSpPr>
          <p:nvPr>
            <p:ph type="pic" sz="quarter" idx="13" hasCustomPrompt="1"/>
          </p:nvPr>
        </p:nvSpPr>
        <p:spPr>
          <a:xfrm>
            <a:off x="3797436" y="1439560"/>
            <a:ext cx="6551028" cy="5183048"/>
          </a:xfrm>
        </p:spPr>
        <p:txBody>
          <a:bodyPr/>
          <a:lstStyle>
            <a:lvl1pPr algn="l">
              <a:buFontTx/>
              <a:buNone/>
              <a:defRPr>
                <a:latin typeface="SKODA Next" panose="020B0504020603020204" pitchFamily="34" charset="0"/>
              </a:defRPr>
            </a:lvl1pPr>
          </a:lstStyle>
          <a:p>
            <a:r>
              <a:rPr lang="cs-CZ" noProof="0" dirty="0"/>
              <a:t>Obrázek</a:t>
            </a:r>
          </a:p>
        </p:txBody>
      </p:sp>
      <p:sp>
        <p:nvSpPr>
          <p:cNvPr id="15" name="Zástupný symbol pro text 28"/>
          <p:cNvSpPr>
            <a:spLocks noGrp="1"/>
          </p:cNvSpPr>
          <p:nvPr>
            <p:ph type="body" sz="quarter" idx="14"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4" name="Nadpis 3"/>
          <p:cNvSpPr>
            <a:spLocks noGrp="1"/>
          </p:cNvSpPr>
          <p:nvPr>
            <p:ph type="title" hasCustomPrompt="1"/>
          </p:nvPr>
        </p:nvSpPr>
        <p:spPr/>
        <p:txBody>
          <a:bodyPr/>
          <a:lstStyle>
            <a:lvl1pPr>
              <a:defRPr/>
            </a:lvl1pPr>
          </a:lstStyle>
          <a:p>
            <a:r>
              <a:rPr lang="cs-CZ" noProof="0" dirty="0"/>
              <a:t>Nadpis (shrnutí stránky)</a:t>
            </a:r>
          </a:p>
        </p:txBody>
      </p:sp>
    </p:spTree>
    <p:extLst>
      <p:ext uri="{BB962C8B-B14F-4D97-AF65-F5344CB8AC3E}">
        <p14:creationId xmlns:p14="http://schemas.microsoft.com/office/powerpoint/2010/main" val="39684147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11" name="Zástupný symbol pro obrázek 10"/>
          <p:cNvSpPr>
            <a:spLocks noGrp="1"/>
          </p:cNvSpPr>
          <p:nvPr>
            <p:ph type="pic" sz="quarter" idx="13" hasCustomPrompt="1"/>
          </p:nvPr>
        </p:nvSpPr>
        <p:spPr>
          <a:xfrm>
            <a:off x="341949" y="1439562"/>
            <a:ext cx="10006515" cy="5183685"/>
          </a:xfrm>
        </p:spPr>
        <p:txBody>
          <a:bodyPr/>
          <a:lstStyle>
            <a:lvl1pPr algn="l">
              <a:buFontTx/>
              <a:buNone/>
              <a:defRPr>
                <a:latin typeface="SKODA Next" panose="020B0504020603020204" pitchFamily="34" charset="0"/>
              </a:defRPr>
            </a:lvl1pPr>
          </a:lstStyle>
          <a:p>
            <a:r>
              <a:rPr lang="cs-CZ" noProof="0" dirty="0"/>
              <a:t>Obrázek</a:t>
            </a:r>
          </a:p>
        </p:txBody>
      </p:sp>
      <p:sp>
        <p:nvSpPr>
          <p:cNvPr id="13"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2" name="Nadpis 1"/>
          <p:cNvSpPr>
            <a:spLocks noGrp="1"/>
          </p:cNvSpPr>
          <p:nvPr>
            <p:ph type="title" hasCustomPrompt="1"/>
          </p:nvPr>
        </p:nvSpPr>
        <p:spPr/>
        <p:txBody>
          <a:bodyPr/>
          <a:lstStyle>
            <a:lvl1pPr>
              <a:defRPr/>
            </a:lvl1pPr>
          </a:lstStyle>
          <a:p>
            <a:r>
              <a:rPr lang="cs-CZ" noProof="0" dirty="0"/>
              <a:t>Nadpis (shrnutí stránky)</a:t>
            </a:r>
          </a:p>
        </p:txBody>
      </p:sp>
    </p:spTree>
    <p:extLst>
      <p:ext uri="{BB962C8B-B14F-4D97-AF65-F5344CB8AC3E}">
        <p14:creationId xmlns:p14="http://schemas.microsoft.com/office/powerpoint/2010/main" val="28998053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with Header">
    <p:spTree>
      <p:nvGrpSpPr>
        <p:cNvPr id="1" name=""/>
        <p:cNvGrpSpPr/>
        <p:nvPr/>
      </p:nvGrpSpPr>
      <p:grpSpPr>
        <a:xfrm>
          <a:off x="0" y="0"/>
          <a:ext cx="0" cy="0"/>
          <a:chOff x="0" y="0"/>
          <a:chExt cx="0" cy="0"/>
        </a:xfrm>
      </p:grpSpPr>
      <p:sp>
        <p:nvSpPr>
          <p:cNvPr id="11" name="Zástupný symbol pro obrázek 10"/>
          <p:cNvSpPr>
            <a:spLocks noGrp="1"/>
          </p:cNvSpPr>
          <p:nvPr>
            <p:ph type="pic" sz="quarter" idx="13" hasCustomPrompt="1"/>
          </p:nvPr>
        </p:nvSpPr>
        <p:spPr>
          <a:xfrm>
            <a:off x="1" y="0"/>
            <a:ext cx="10691813" cy="6964537"/>
          </a:xfrm>
        </p:spPr>
        <p:txBody>
          <a:bodyPr/>
          <a:lstStyle>
            <a:lvl1pPr algn="l">
              <a:buFontTx/>
              <a:buNone/>
              <a:defRPr>
                <a:latin typeface="SKODA Next" panose="020B0504020603020204" pitchFamily="34" charset="0"/>
              </a:defRPr>
            </a:lvl1pPr>
          </a:lstStyle>
          <a:p>
            <a:r>
              <a:rPr lang="cs-CZ" noProof="0" dirty="0"/>
              <a:t>Obrázek</a:t>
            </a:r>
          </a:p>
        </p:txBody>
      </p:sp>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Tree>
    <p:extLst>
      <p:ext uri="{BB962C8B-B14F-4D97-AF65-F5344CB8AC3E}">
        <p14:creationId xmlns:p14="http://schemas.microsoft.com/office/powerpoint/2010/main" val="30364539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utli Picture">
    <p:spTree>
      <p:nvGrpSpPr>
        <p:cNvPr id="1" name=""/>
        <p:cNvGrpSpPr/>
        <p:nvPr/>
      </p:nvGrpSpPr>
      <p:grpSpPr>
        <a:xfrm>
          <a:off x="0" y="0"/>
          <a:ext cx="0" cy="0"/>
          <a:chOff x="0" y="0"/>
          <a:chExt cx="0" cy="0"/>
        </a:xfrm>
      </p:grpSpPr>
      <p:sp>
        <p:nvSpPr>
          <p:cNvPr id="7" name="Zástupný symbol pro číslo snímku 6"/>
          <p:cNvSpPr>
            <a:spLocks noGrp="1"/>
          </p:cNvSpPr>
          <p:nvPr>
            <p:ph type="sldNum" sz="quarter" idx="10"/>
          </p:nvPr>
        </p:nvSpPr>
        <p:spPr/>
        <p:txBody>
          <a:bodyPr/>
          <a:lstStyle>
            <a:lvl1pPr>
              <a:defRPr>
                <a:latin typeface="SKODA Next" panose="020B0504020603020204" pitchFamily="34" charset="0"/>
              </a:defRPr>
            </a:lvl1pPr>
          </a:lstStyle>
          <a:p>
            <a:fld id="{1E956721-BB38-4972-8ACD-5A2C9377E3B4}" type="slidenum">
              <a:rPr lang="cs-CZ" smtClean="0"/>
              <a:pPr/>
              <a:t>‹#›</a:t>
            </a:fld>
            <a:endParaRPr lang="cs-CZ" dirty="0"/>
          </a:p>
        </p:txBody>
      </p:sp>
      <p:sp>
        <p:nvSpPr>
          <p:cNvPr id="8" name="Zástupný symbol pro zápatí 7"/>
          <p:cNvSpPr>
            <a:spLocks noGrp="1"/>
          </p:cNvSpPr>
          <p:nvPr>
            <p:ph type="ftr" sz="quarter" idx="11"/>
          </p:nvPr>
        </p:nvSpPr>
        <p:spPr/>
        <p:txBody>
          <a:bodyPr/>
          <a:lstStyle>
            <a:lvl1pPr>
              <a:defRPr>
                <a:latin typeface="SKODA Next" panose="020B0504020603020204" pitchFamily="34" charset="0"/>
              </a:defRPr>
            </a:lvl1pPr>
          </a:lstStyle>
          <a:p>
            <a:endParaRPr lang="cs-CZ" dirty="0"/>
          </a:p>
        </p:txBody>
      </p:sp>
      <p:sp>
        <p:nvSpPr>
          <p:cNvPr id="11" name="Zástupný symbol pro obrázek 10"/>
          <p:cNvSpPr>
            <a:spLocks noGrp="1"/>
          </p:cNvSpPr>
          <p:nvPr>
            <p:ph type="pic" sz="quarter" idx="13" hasCustomPrompt="1"/>
          </p:nvPr>
        </p:nvSpPr>
        <p:spPr>
          <a:xfrm>
            <a:off x="342850" y="1439699"/>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3" name="Zástupný symbol pro text 12"/>
          <p:cNvSpPr>
            <a:spLocks noGrp="1"/>
          </p:cNvSpPr>
          <p:nvPr>
            <p:ph type="body" sz="quarter" idx="14" hasCustomPrompt="1"/>
          </p:nvPr>
        </p:nvSpPr>
        <p:spPr>
          <a:xfrm>
            <a:off x="342850" y="3743214"/>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14" name="Zástupný symbol pro obrázek 10"/>
          <p:cNvSpPr>
            <a:spLocks noGrp="1"/>
          </p:cNvSpPr>
          <p:nvPr>
            <p:ph type="pic" sz="quarter" idx="15" hasCustomPrompt="1"/>
          </p:nvPr>
        </p:nvSpPr>
        <p:spPr>
          <a:xfrm>
            <a:off x="342850" y="4139132"/>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5" name="Zástupný symbol pro text 12"/>
          <p:cNvSpPr>
            <a:spLocks noGrp="1"/>
          </p:cNvSpPr>
          <p:nvPr>
            <p:ph type="body" sz="quarter" idx="16" hasCustomPrompt="1"/>
          </p:nvPr>
        </p:nvSpPr>
        <p:spPr>
          <a:xfrm>
            <a:off x="342850" y="6442647"/>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16" name="Zástupný symbol pro obrázek 10"/>
          <p:cNvSpPr>
            <a:spLocks noGrp="1"/>
          </p:cNvSpPr>
          <p:nvPr>
            <p:ph type="pic" sz="quarter" idx="17" hasCustomPrompt="1"/>
          </p:nvPr>
        </p:nvSpPr>
        <p:spPr>
          <a:xfrm>
            <a:off x="5525268" y="1439699"/>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7" name="Zástupný symbol pro text 12"/>
          <p:cNvSpPr>
            <a:spLocks noGrp="1"/>
          </p:cNvSpPr>
          <p:nvPr>
            <p:ph type="body" sz="quarter" idx="18" hasCustomPrompt="1"/>
          </p:nvPr>
        </p:nvSpPr>
        <p:spPr>
          <a:xfrm>
            <a:off x="5525268" y="3743214"/>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18" name="Zástupný symbol pro obrázek 10"/>
          <p:cNvSpPr>
            <a:spLocks noGrp="1"/>
          </p:cNvSpPr>
          <p:nvPr>
            <p:ph type="pic" sz="quarter" idx="19" hasCustomPrompt="1"/>
          </p:nvPr>
        </p:nvSpPr>
        <p:spPr>
          <a:xfrm>
            <a:off x="5525268" y="4139132"/>
            <a:ext cx="4823696" cy="2231531"/>
          </a:xfrm>
        </p:spPr>
        <p:txBody>
          <a:bodyPr/>
          <a:lstStyle>
            <a:lvl1pPr algn="l">
              <a:buFontTx/>
              <a:buNone/>
              <a:defRPr>
                <a:latin typeface="SKODA Next" panose="020B0504020603020204" pitchFamily="34" charset="0"/>
              </a:defRPr>
            </a:lvl1pPr>
          </a:lstStyle>
          <a:p>
            <a:r>
              <a:rPr lang="cs-CZ" noProof="0" dirty="0"/>
              <a:t>Obrázek</a:t>
            </a:r>
          </a:p>
        </p:txBody>
      </p:sp>
      <p:sp>
        <p:nvSpPr>
          <p:cNvPr id="19" name="Zástupný symbol pro text 12"/>
          <p:cNvSpPr>
            <a:spLocks noGrp="1"/>
          </p:cNvSpPr>
          <p:nvPr>
            <p:ph type="body" sz="quarter" idx="20" hasCustomPrompt="1"/>
          </p:nvPr>
        </p:nvSpPr>
        <p:spPr>
          <a:xfrm>
            <a:off x="5525268" y="6442647"/>
            <a:ext cx="4823696" cy="179962"/>
          </a:xfrm>
        </p:spPr>
        <p:txBody>
          <a:bodyPr anchor="ctr" anchorCtr="0">
            <a:noAutofit/>
          </a:bodyPr>
          <a:lstStyle>
            <a:lvl1pPr marL="0" indent="0">
              <a:lnSpc>
                <a:spcPct val="100000"/>
              </a:lnSpc>
              <a:buFontTx/>
              <a:buNone/>
              <a:defRPr sz="1200">
                <a:latin typeface="SKODA Next" panose="020B0504020603020204" pitchFamily="34" charset="0"/>
              </a:defRPr>
            </a:lvl1pPr>
          </a:lstStyle>
          <a:p>
            <a:pPr lvl="0"/>
            <a:r>
              <a:rPr lang="cs-CZ" noProof="0" dirty="0"/>
              <a:t>Titulek</a:t>
            </a:r>
          </a:p>
        </p:txBody>
      </p:sp>
      <p:sp>
        <p:nvSpPr>
          <p:cNvPr id="24" name="Zástupný symbol pro text 28"/>
          <p:cNvSpPr>
            <a:spLocks noGrp="1"/>
          </p:cNvSpPr>
          <p:nvPr>
            <p:ph type="body" sz="quarter" idx="12" hasCustomPrompt="1"/>
          </p:nvPr>
        </p:nvSpPr>
        <p:spPr>
          <a:xfrm>
            <a:off x="341949" y="899811"/>
            <a:ext cx="10006115" cy="359924"/>
          </a:xfrm>
        </p:spPr>
        <p:txBody>
          <a:bodyPr>
            <a:noAutofit/>
          </a:bodyPr>
          <a:lstStyle>
            <a:lvl1pPr marL="0" indent="0">
              <a:lnSpc>
                <a:spcPts val="2400"/>
              </a:lnSpc>
              <a:buNone/>
              <a:defRPr sz="2000" baseline="0"/>
            </a:lvl1pPr>
          </a:lstStyle>
          <a:p>
            <a:pPr lvl="0"/>
            <a:r>
              <a:rPr lang="cs-CZ" noProof="0" dirty="0"/>
              <a:t>Podnadpis</a:t>
            </a:r>
          </a:p>
        </p:txBody>
      </p:sp>
      <p:sp>
        <p:nvSpPr>
          <p:cNvPr id="2" name="Nadpis 1"/>
          <p:cNvSpPr>
            <a:spLocks noGrp="1"/>
          </p:cNvSpPr>
          <p:nvPr>
            <p:ph type="title" hasCustomPrompt="1"/>
          </p:nvPr>
        </p:nvSpPr>
        <p:spPr/>
        <p:txBody>
          <a:bodyPr/>
          <a:lstStyle>
            <a:lvl1pPr>
              <a:defRPr/>
            </a:lvl1pPr>
          </a:lstStyle>
          <a:p>
            <a:r>
              <a:rPr lang="cs-CZ" noProof="0" dirty="0"/>
              <a:t>Nadpis (shrnutí stránky)</a:t>
            </a:r>
          </a:p>
        </p:txBody>
      </p:sp>
    </p:spTree>
    <p:extLst>
      <p:ext uri="{BB962C8B-B14F-4D97-AF65-F5344CB8AC3E}">
        <p14:creationId xmlns:p14="http://schemas.microsoft.com/office/powerpoint/2010/main" val="2849687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gi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gi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5.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image" Target="../media/image2.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1.gif"/><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ags" Target="../tags/tag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3.xml"/><Relationship Id="rId5" Type="http://schemas.openxmlformats.org/officeDocument/2006/relationships/slideLayout" Target="../slideLayouts/slideLayout26.xml"/><Relationship Id="rId15" Type="http://schemas.openxmlformats.org/officeDocument/2006/relationships/image" Target="../media/image2.emf"/><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oleObject" Target="../embeddings/oleObject7.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gi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ags" Target="../tags/tag11.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heme" Target="../theme/theme4.xml"/><Relationship Id="rId5" Type="http://schemas.openxmlformats.org/officeDocument/2006/relationships/slideLayout" Target="../slideLayouts/slideLayout36.xml"/><Relationship Id="rId15" Type="http://schemas.openxmlformats.org/officeDocument/2006/relationships/image" Target="../media/image2.emf"/><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oleObject" Target="../embeddings/oleObject10.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1.gif"/><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ags" Target="../tags/tag1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heme" Target="../theme/theme5.xml"/><Relationship Id="rId5" Type="http://schemas.openxmlformats.org/officeDocument/2006/relationships/slideLayout" Target="../slideLayouts/slideLayout46.xml"/><Relationship Id="rId15" Type="http://schemas.openxmlformats.org/officeDocument/2006/relationships/image" Target="../media/image2.emf"/><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oleObject" Target="../embeddings/oleObject1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3" name="Skupina 12"/>
          <p:cNvGrpSpPr/>
          <p:nvPr userDrawn="1"/>
        </p:nvGrpSpPr>
        <p:grpSpPr>
          <a:xfrm>
            <a:off x="0" y="6961281"/>
            <a:ext cx="10693400" cy="599982"/>
            <a:chOff x="0" y="6961281"/>
            <a:chExt cx="10693400" cy="599982"/>
          </a:xfrm>
        </p:grpSpPr>
        <p:pic>
          <p:nvPicPr>
            <p:cNvPr id="20" name="Obrázek 19"/>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623721" y="7084105"/>
              <a:ext cx="1726779" cy="360000"/>
            </a:xfrm>
            <a:prstGeom prst="rect">
              <a:avLst/>
            </a:prstGeom>
          </p:spPr>
        </p:pic>
        <p:sp>
          <p:nvSpPr>
            <p:cNvPr id="21" name="Volný tvar 20"/>
            <p:cNvSpPr/>
            <p:nvPr userDrawn="1"/>
          </p:nvSpPr>
          <p:spPr>
            <a:xfrm>
              <a:off x="0" y="6961281"/>
              <a:ext cx="8444706" cy="599334"/>
            </a:xfrm>
            <a:custGeom>
              <a:avLst/>
              <a:gdLst>
                <a:gd name="connsiteX0" fmla="*/ 8186468 w 8186468"/>
                <a:gd name="connsiteY0" fmla="*/ 603849 h 603849"/>
                <a:gd name="connsiteX1" fmla="*/ 7962181 w 8186468"/>
                <a:gd name="connsiteY1" fmla="*/ 172528 h 603849"/>
                <a:gd name="connsiteX2" fmla="*/ 8074325 w 8186468"/>
                <a:gd name="connsiteY2" fmla="*/ 0 h 603849"/>
                <a:gd name="connsiteX3" fmla="*/ 112143 w 8186468"/>
                <a:gd name="connsiteY3" fmla="*/ 8626 h 603849"/>
                <a:gd name="connsiteX4" fmla="*/ 0 w 8186468"/>
                <a:gd name="connsiteY4" fmla="*/ 138023 h 603849"/>
                <a:gd name="connsiteX5" fmla="*/ 241540 w 8186468"/>
                <a:gd name="connsiteY5" fmla="*/ 603849 h 603849"/>
                <a:gd name="connsiteX6" fmla="*/ 8186468 w 8186468"/>
                <a:gd name="connsiteY6" fmla="*/ 603849 h 603849"/>
                <a:gd name="connsiteX0" fmla="*/ 8074325 w 8074325"/>
                <a:gd name="connsiteY0" fmla="*/ 603849 h 603849"/>
                <a:gd name="connsiteX1" fmla="*/ 7850038 w 8074325"/>
                <a:gd name="connsiteY1" fmla="*/ 172528 h 603849"/>
                <a:gd name="connsiteX2" fmla="*/ 7962182 w 8074325"/>
                <a:gd name="connsiteY2" fmla="*/ 0 h 603849"/>
                <a:gd name="connsiteX3" fmla="*/ 0 w 8074325"/>
                <a:gd name="connsiteY3" fmla="*/ 8626 h 603849"/>
                <a:gd name="connsiteX4" fmla="*/ 129397 w 8074325"/>
                <a:gd name="connsiteY4" fmla="*/ 603849 h 603849"/>
                <a:gd name="connsiteX5" fmla="*/ 8074325 w 8074325"/>
                <a:gd name="connsiteY5" fmla="*/ 603849 h 603849"/>
                <a:gd name="connsiteX0" fmla="*/ 8417032 w 8417032"/>
                <a:gd name="connsiteY0" fmla="*/ 603849 h 603849"/>
                <a:gd name="connsiteX1" fmla="*/ 8192745 w 8417032"/>
                <a:gd name="connsiteY1" fmla="*/ 172528 h 603849"/>
                <a:gd name="connsiteX2" fmla="*/ 8304889 w 8417032"/>
                <a:gd name="connsiteY2" fmla="*/ 0 h 603849"/>
                <a:gd name="connsiteX3" fmla="*/ 342707 w 8417032"/>
                <a:gd name="connsiteY3" fmla="*/ 8626 h 603849"/>
                <a:gd name="connsiteX4" fmla="*/ 0 w 8417032"/>
                <a:gd name="connsiteY4" fmla="*/ 601591 h 603849"/>
                <a:gd name="connsiteX5" fmla="*/ 8417032 w 8417032"/>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1591 h 603849"/>
                <a:gd name="connsiteX5" fmla="*/ 8417269 w 8417269"/>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3849 h 603849"/>
                <a:gd name="connsiteX5" fmla="*/ 8417269 w 8417269"/>
                <a:gd name="connsiteY5" fmla="*/ 603849 h 603849"/>
                <a:gd name="connsiteX0" fmla="*/ 8491108 w 8491108"/>
                <a:gd name="connsiteY0" fmla="*/ 603849 h 603849"/>
                <a:gd name="connsiteX1" fmla="*/ 8192982 w 8491108"/>
                <a:gd name="connsiteY1" fmla="*/ 172528 h 603849"/>
                <a:gd name="connsiteX2" fmla="*/ 8305126 w 8491108"/>
                <a:gd name="connsiteY2" fmla="*/ 0 h 603849"/>
                <a:gd name="connsiteX3" fmla="*/ 0 w 8491108"/>
                <a:gd name="connsiteY3" fmla="*/ 8626 h 603849"/>
                <a:gd name="connsiteX4" fmla="*/ 237 w 8491108"/>
                <a:gd name="connsiteY4" fmla="*/ 603849 h 603849"/>
                <a:gd name="connsiteX5" fmla="*/ 8491108 w 8491108"/>
                <a:gd name="connsiteY5" fmla="*/ 603849 h 603849"/>
                <a:gd name="connsiteX0" fmla="*/ 8491108 w 8491108"/>
                <a:gd name="connsiteY0" fmla="*/ 595828 h 595828"/>
                <a:gd name="connsiteX1" fmla="*/ 8192982 w 8491108"/>
                <a:gd name="connsiteY1" fmla="*/ 164507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5828 h 595828"/>
                <a:gd name="connsiteX1" fmla="*/ 8335388 w 8491108"/>
                <a:gd name="connsiteY1" fmla="*/ 239370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7306 h 597306"/>
                <a:gd name="connsiteX1" fmla="*/ 8335388 w 8491108"/>
                <a:gd name="connsiteY1" fmla="*/ 240848 h 597306"/>
                <a:gd name="connsiteX2" fmla="*/ 8455442 w 8491108"/>
                <a:gd name="connsiteY2" fmla="*/ 1478 h 597306"/>
                <a:gd name="connsiteX3" fmla="*/ 0 w 8491108"/>
                <a:gd name="connsiteY3" fmla="*/ 0 h 597306"/>
                <a:gd name="connsiteX4" fmla="*/ 237 w 8491108"/>
                <a:gd name="connsiteY4" fmla="*/ 597306 h 597306"/>
                <a:gd name="connsiteX5" fmla="*/ 8491108 w 8491108"/>
                <a:gd name="connsiteY5" fmla="*/ 597306 h 597306"/>
                <a:gd name="connsiteX0" fmla="*/ 8490871 w 8490871"/>
                <a:gd name="connsiteY0" fmla="*/ 599334 h 599334"/>
                <a:gd name="connsiteX1" fmla="*/ 8335151 w 8490871"/>
                <a:gd name="connsiteY1" fmla="*/ 242876 h 599334"/>
                <a:gd name="connsiteX2" fmla="*/ 8455205 w 8490871"/>
                <a:gd name="connsiteY2" fmla="*/ 3506 h 599334"/>
                <a:gd name="connsiteX3" fmla="*/ 159745 w 8490871"/>
                <a:gd name="connsiteY3" fmla="*/ 0 h 599334"/>
                <a:gd name="connsiteX4" fmla="*/ 0 w 8490871"/>
                <a:gd name="connsiteY4" fmla="*/ 599334 h 599334"/>
                <a:gd name="connsiteX5" fmla="*/ 8490871 w 8490871"/>
                <a:gd name="connsiteY5" fmla="*/ 599334 h 599334"/>
                <a:gd name="connsiteX0" fmla="*/ 8331126 w 8331126"/>
                <a:gd name="connsiteY0" fmla="*/ 599334 h 599334"/>
                <a:gd name="connsiteX1" fmla="*/ 8175406 w 8331126"/>
                <a:gd name="connsiteY1" fmla="*/ 242876 h 599334"/>
                <a:gd name="connsiteX2" fmla="*/ 8295460 w 8331126"/>
                <a:gd name="connsiteY2" fmla="*/ 3506 h 599334"/>
                <a:gd name="connsiteX3" fmla="*/ 0 w 8331126"/>
                <a:gd name="connsiteY3" fmla="*/ 0 h 599334"/>
                <a:gd name="connsiteX4" fmla="*/ 12236 w 8331126"/>
                <a:gd name="connsiteY4" fmla="*/ 599334 h 599334"/>
                <a:gd name="connsiteX5" fmla="*/ 8331126 w 8331126"/>
                <a:gd name="connsiteY5" fmla="*/ 599334 h 599334"/>
                <a:gd name="connsiteX0" fmla="*/ 8331126 w 8331126"/>
                <a:gd name="connsiteY0" fmla="*/ 599334 h 599334"/>
                <a:gd name="connsiteX1" fmla="*/ 8175406 w 8331126"/>
                <a:gd name="connsiteY1" fmla="*/ 242876 h 599334"/>
                <a:gd name="connsiteX2" fmla="*/ 8295460 w 8331126"/>
                <a:gd name="connsiteY2" fmla="*/ 3506 h 599334"/>
                <a:gd name="connsiteX3" fmla="*/ 0 w 8331126"/>
                <a:gd name="connsiteY3" fmla="*/ 0 h 599334"/>
                <a:gd name="connsiteX4" fmla="*/ 2842 w 8331126"/>
                <a:gd name="connsiteY4" fmla="*/ 599334 h 599334"/>
                <a:gd name="connsiteX5" fmla="*/ 8331126 w 8331126"/>
                <a:gd name="connsiteY5" fmla="*/ 599334 h 599334"/>
                <a:gd name="connsiteX0" fmla="*/ 8328482 w 8328482"/>
                <a:gd name="connsiteY0" fmla="*/ 599334 h 599334"/>
                <a:gd name="connsiteX1" fmla="*/ 8172762 w 8328482"/>
                <a:gd name="connsiteY1" fmla="*/ 242876 h 599334"/>
                <a:gd name="connsiteX2" fmla="*/ 8292816 w 8328482"/>
                <a:gd name="connsiteY2" fmla="*/ 3506 h 599334"/>
                <a:gd name="connsiteX3" fmla="*/ 1114 w 8328482"/>
                <a:gd name="connsiteY3" fmla="*/ 0 h 599334"/>
                <a:gd name="connsiteX4" fmla="*/ 198 w 8328482"/>
                <a:gd name="connsiteY4" fmla="*/ 599334 h 599334"/>
                <a:gd name="connsiteX5" fmla="*/ 8328482 w 8328482"/>
                <a:gd name="connsiteY5" fmla="*/ 599334 h 599334"/>
                <a:gd name="connsiteX0" fmla="*/ 8329247 w 8329247"/>
                <a:gd name="connsiteY0" fmla="*/ 599334 h 599334"/>
                <a:gd name="connsiteX1" fmla="*/ 8173527 w 8329247"/>
                <a:gd name="connsiteY1" fmla="*/ 242876 h 599334"/>
                <a:gd name="connsiteX2" fmla="*/ 8293581 w 8329247"/>
                <a:gd name="connsiteY2" fmla="*/ 3506 h 599334"/>
                <a:gd name="connsiteX3" fmla="*/ 0 w 8329247"/>
                <a:gd name="connsiteY3" fmla="*/ 0 h 599334"/>
                <a:gd name="connsiteX4" fmla="*/ 963 w 8329247"/>
                <a:gd name="connsiteY4" fmla="*/ 599334 h 599334"/>
                <a:gd name="connsiteX5" fmla="*/ 8329247 w 8329247"/>
                <a:gd name="connsiteY5" fmla="*/ 599334 h 599334"/>
                <a:gd name="connsiteX0" fmla="*/ 8328325 w 8328325"/>
                <a:gd name="connsiteY0" fmla="*/ 599334 h 599334"/>
                <a:gd name="connsiteX1" fmla="*/ 8172605 w 8328325"/>
                <a:gd name="connsiteY1" fmla="*/ 242876 h 599334"/>
                <a:gd name="connsiteX2" fmla="*/ 8292659 w 8328325"/>
                <a:gd name="connsiteY2" fmla="*/ 3506 h 599334"/>
                <a:gd name="connsiteX3" fmla="*/ 14110 w 8328325"/>
                <a:gd name="connsiteY3" fmla="*/ 0 h 599334"/>
                <a:gd name="connsiteX4" fmla="*/ 41 w 8328325"/>
                <a:gd name="connsiteY4" fmla="*/ 599334 h 599334"/>
                <a:gd name="connsiteX5" fmla="*/ 8328325 w 8328325"/>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21630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2841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2841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30206 w 8330206"/>
                <a:gd name="connsiteY0" fmla="*/ 599334 h 599334"/>
                <a:gd name="connsiteX1" fmla="*/ 8174486 w 8330206"/>
                <a:gd name="connsiteY1" fmla="*/ 242876 h 599334"/>
                <a:gd name="connsiteX2" fmla="*/ 8294540 w 8330206"/>
                <a:gd name="connsiteY2" fmla="*/ 3506 h 599334"/>
                <a:gd name="connsiteX3" fmla="*/ 960 w 8330206"/>
                <a:gd name="connsiteY3" fmla="*/ 0 h 599334"/>
                <a:gd name="connsiteX4" fmla="*/ 43 w 8330206"/>
                <a:gd name="connsiteY4" fmla="*/ 599334 h 599334"/>
                <a:gd name="connsiteX5" fmla="*/ 8330206 w 8330206"/>
                <a:gd name="connsiteY5" fmla="*/ 599334 h 599334"/>
                <a:gd name="connsiteX0" fmla="*/ 8331125 w 8331125"/>
                <a:gd name="connsiteY0" fmla="*/ 599334 h 599334"/>
                <a:gd name="connsiteX1" fmla="*/ 8175405 w 8331125"/>
                <a:gd name="connsiteY1" fmla="*/ 242876 h 599334"/>
                <a:gd name="connsiteX2" fmla="*/ 8295459 w 8331125"/>
                <a:gd name="connsiteY2" fmla="*/ 3506 h 599334"/>
                <a:gd name="connsiteX3" fmla="*/ 0 w 8331125"/>
                <a:gd name="connsiteY3" fmla="*/ 0 h 599334"/>
                <a:gd name="connsiteX4" fmla="*/ 962 w 8331125"/>
                <a:gd name="connsiteY4" fmla="*/ 599334 h 599334"/>
                <a:gd name="connsiteX5" fmla="*/ 8331125 w 8331125"/>
                <a:gd name="connsiteY5" fmla="*/ 599334 h 599334"/>
                <a:gd name="connsiteX0" fmla="*/ 8330185 w 8330185"/>
                <a:gd name="connsiteY0" fmla="*/ 599334 h 599334"/>
                <a:gd name="connsiteX1" fmla="*/ 8174465 w 8330185"/>
                <a:gd name="connsiteY1" fmla="*/ 242876 h 599334"/>
                <a:gd name="connsiteX2" fmla="*/ 8294519 w 8330185"/>
                <a:gd name="connsiteY2" fmla="*/ 3506 h 599334"/>
                <a:gd name="connsiteX3" fmla="*/ 2818 w 8330185"/>
                <a:gd name="connsiteY3" fmla="*/ 0 h 599334"/>
                <a:gd name="connsiteX4" fmla="*/ 22 w 8330185"/>
                <a:gd name="connsiteY4" fmla="*/ 599334 h 599334"/>
                <a:gd name="connsiteX5" fmla="*/ 8330185 w 8330185"/>
                <a:gd name="connsiteY5" fmla="*/ 599334 h 599334"/>
                <a:gd name="connsiteX0" fmla="*/ 8328328 w 8328328"/>
                <a:gd name="connsiteY0" fmla="*/ 599334 h 599334"/>
                <a:gd name="connsiteX1" fmla="*/ 8172608 w 8328328"/>
                <a:gd name="connsiteY1" fmla="*/ 242876 h 599334"/>
                <a:gd name="connsiteX2" fmla="*/ 8292662 w 8328328"/>
                <a:gd name="connsiteY2" fmla="*/ 3506 h 599334"/>
                <a:gd name="connsiteX3" fmla="*/ 961 w 8328328"/>
                <a:gd name="connsiteY3" fmla="*/ 0 h 599334"/>
                <a:gd name="connsiteX4" fmla="*/ 44 w 8328328"/>
                <a:gd name="connsiteY4" fmla="*/ 599334 h 599334"/>
                <a:gd name="connsiteX5" fmla="*/ 8328328 w 8328328"/>
                <a:gd name="connsiteY5" fmla="*/ 599334 h 599334"/>
                <a:gd name="connsiteX0" fmla="*/ 8327367 w 8327367"/>
                <a:gd name="connsiteY0" fmla="*/ 599334 h 599334"/>
                <a:gd name="connsiteX1" fmla="*/ 8171647 w 8327367"/>
                <a:gd name="connsiteY1" fmla="*/ 242876 h 599334"/>
                <a:gd name="connsiteX2" fmla="*/ 8291701 w 8327367"/>
                <a:gd name="connsiteY2" fmla="*/ 3506 h 599334"/>
                <a:gd name="connsiteX3" fmla="*/ 0 w 8327367"/>
                <a:gd name="connsiteY3" fmla="*/ 0 h 599334"/>
                <a:gd name="connsiteX4" fmla="*/ 962 w 8327367"/>
                <a:gd name="connsiteY4" fmla="*/ 599334 h 599334"/>
                <a:gd name="connsiteX5" fmla="*/ 8327367 w 8327367"/>
                <a:gd name="connsiteY5" fmla="*/ 599334 h 599334"/>
                <a:gd name="connsiteX0" fmla="*/ 8328327 w 8328327"/>
                <a:gd name="connsiteY0" fmla="*/ 599334 h 599334"/>
                <a:gd name="connsiteX1" fmla="*/ 8172607 w 8328327"/>
                <a:gd name="connsiteY1" fmla="*/ 242876 h 599334"/>
                <a:gd name="connsiteX2" fmla="*/ 8292661 w 8328327"/>
                <a:gd name="connsiteY2" fmla="*/ 3506 h 599334"/>
                <a:gd name="connsiteX3" fmla="*/ 960 w 8328327"/>
                <a:gd name="connsiteY3" fmla="*/ 0 h 599334"/>
                <a:gd name="connsiteX4" fmla="*/ 43 w 8328327"/>
                <a:gd name="connsiteY4" fmla="*/ 599334 h 599334"/>
                <a:gd name="connsiteX5" fmla="*/ 8328327 w 8328327"/>
                <a:gd name="connsiteY5" fmla="*/ 599334 h 599334"/>
                <a:gd name="connsiteX0" fmla="*/ 8328285 w 8328285"/>
                <a:gd name="connsiteY0" fmla="*/ 599334 h 599334"/>
                <a:gd name="connsiteX1" fmla="*/ 8172565 w 8328285"/>
                <a:gd name="connsiteY1" fmla="*/ 242876 h 599334"/>
                <a:gd name="connsiteX2" fmla="*/ 8292619 w 8328285"/>
                <a:gd name="connsiteY2" fmla="*/ 3506 h 599334"/>
                <a:gd name="connsiteX3" fmla="*/ 341008 w 8328285"/>
                <a:gd name="connsiteY3" fmla="*/ 0 h 599334"/>
                <a:gd name="connsiteX4" fmla="*/ 1 w 8328285"/>
                <a:gd name="connsiteY4" fmla="*/ 599334 h 599334"/>
                <a:gd name="connsiteX5" fmla="*/ 8328285 w 8328285"/>
                <a:gd name="connsiteY5" fmla="*/ 599334 h 599334"/>
                <a:gd name="connsiteX0" fmla="*/ 7990094 w 7990094"/>
                <a:gd name="connsiteY0" fmla="*/ 599334 h 601239"/>
                <a:gd name="connsiteX1" fmla="*/ 7834374 w 7990094"/>
                <a:gd name="connsiteY1" fmla="*/ 242876 h 601239"/>
                <a:gd name="connsiteX2" fmla="*/ 7954428 w 7990094"/>
                <a:gd name="connsiteY2" fmla="*/ 3506 h 601239"/>
                <a:gd name="connsiteX3" fmla="*/ 2817 w 7990094"/>
                <a:gd name="connsiteY3" fmla="*/ 0 h 601239"/>
                <a:gd name="connsiteX4" fmla="*/ 22 w 7990094"/>
                <a:gd name="connsiteY4" fmla="*/ 601239 h 601239"/>
                <a:gd name="connsiteX5" fmla="*/ 7990094 w 7990094"/>
                <a:gd name="connsiteY5" fmla="*/ 599334 h 601239"/>
                <a:gd name="connsiteX0" fmla="*/ 8328284 w 8328284"/>
                <a:gd name="connsiteY0" fmla="*/ 599334 h 599334"/>
                <a:gd name="connsiteX1" fmla="*/ 8172564 w 8328284"/>
                <a:gd name="connsiteY1" fmla="*/ 242876 h 599334"/>
                <a:gd name="connsiteX2" fmla="*/ 8292618 w 8328284"/>
                <a:gd name="connsiteY2" fmla="*/ 3506 h 599334"/>
                <a:gd name="connsiteX3" fmla="*/ 341007 w 8328284"/>
                <a:gd name="connsiteY3" fmla="*/ 0 h 599334"/>
                <a:gd name="connsiteX4" fmla="*/ 0 w 8328284"/>
                <a:gd name="connsiteY4" fmla="*/ 597429 h 599334"/>
                <a:gd name="connsiteX5" fmla="*/ 8328284 w 8328284"/>
                <a:gd name="connsiteY5" fmla="*/ 599334 h 599334"/>
                <a:gd name="connsiteX0" fmla="*/ 8328284 w 8328284"/>
                <a:gd name="connsiteY0" fmla="*/ 599334 h 599334"/>
                <a:gd name="connsiteX1" fmla="*/ 8172564 w 8328284"/>
                <a:gd name="connsiteY1" fmla="*/ 242876 h 599334"/>
                <a:gd name="connsiteX2" fmla="*/ 8292618 w 8328284"/>
                <a:gd name="connsiteY2" fmla="*/ 3506 h 599334"/>
                <a:gd name="connsiteX3" fmla="*/ 341007 w 8328284"/>
                <a:gd name="connsiteY3" fmla="*/ 0 h 599334"/>
                <a:gd name="connsiteX4" fmla="*/ 0 w 8328284"/>
                <a:gd name="connsiteY4" fmla="*/ 599334 h 599334"/>
                <a:gd name="connsiteX5" fmla="*/ 8328284 w 8328284"/>
                <a:gd name="connsiteY5" fmla="*/ 599334 h 599334"/>
                <a:gd name="connsiteX0" fmla="*/ 8329247 w 8329247"/>
                <a:gd name="connsiteY0" fmla="*/ 599334 h 599334"/>
                <a:gd name="connsiteX1" fmla="*/ 8173527 w 8329247"/>
                <a:gd name="connsiteY1" fmla="*/ 242876 h 599334"/>
                <a:gd name="connsiteX2" fmla="*/ 8293581 w 8329247"/>
                <a:gd name="connsiteY2" fmla="*/ 3506 h 599334"/>
                <a:gd name="connsiteX3" fmla="*/ 0 w 8329247"/>
                <a:gd name="connsiteY3" fmla="*/ 0 h 599334"/>
                <a:gd name="connsiteX4" fmla="*/ 963 w 8329247"/>
                <a:gd name="connsiteY4" fmla="*/ 599334 h 599334"/>
                <a:gd name="connsiteX5" fmla="*/ 8329247 w 8329247"/>
                <a:gd name="connsiteY5" fmla="*/ 599334 h 59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29247" h="599334">
                  <a:moveTo>
                    <a:pt x="8329247" y="599334"/>
                  </a:moveTo>
                  <a:lnTo>
                    <a:pt x="8173527" y="242876"/>
                  </a:lnTo>
                  <a:lnTo>
                    <a:pt x="8293581" y="3506"/>
                  </a:lnTo>
                  <a:lnTo>
                    <a:pt x="0" y="0"/>
                  </a:lnTo>
                  <a:lnTo>
                    <a:pt x="963" y="599334"/>
                  </a:lnTo>
                  <a:lnTo>
                    <a:pt x="8329247" y="599334"/>
                  </a:lnTo>
                  <a:close/>
                </a:path>
              </a:pathLst>
            </a:cu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noProof="0" dirty="0"/>
            </a:p>
          </p:txBody>
        </p:sp>
        <p:sp>
          <p:nvSpPr>
            <p:cNvPr id="22" name="Volný tvar 21"/>
            <p:cNvSpPr/>
            <p:nvPr userDrawn="1"/>
          </p:nvSpPr>
          <p:spPr>
            <a:xfrm>
              <a:off x="1907202" y="7204157"/>
              <a:ext cx="6537502" cy="357106"/>
            </a:xfrm>
            <a:custGeom>
              <a:avLst/>
              <a:gdLst>
                <a:gd name="connsiteX0" fmla="*/ 8186468 w 8186468"/>
                <a:gd name="connsiteY0" fmla="*/ 603849 h 603849"/>
                <a:gd name="connsiteX1" fmla="*/ 7962181 w 8186468"/>
                <a:gd name="connsiteY1" fmla="*/ 172528 h 603849"/>
                <a:gd name="connsiteX2" fmla="*/ 8074325 w 8186468"/>
                <a:gd name="connsiteY2" fmla="*/ 0 h 603849"/>
                <a:gd name="connsiteX3" fmla="*/ 112143 w 8186468"/>
                <a:gd name="connsiteY3" fmla="*/ 8626 h 603849"/>
                <a:gd name="connsiteX4" fmla="*/ 0 w 8186468"/>
                <a:gd name="connsiteY4" fmla="*/ 138023 h 603849"/>
                <a:gd name="connsiteX5" fmla="*/ 241540 w 8186468"/>
                <a:gd name="connsiteY5" fmla="*/ 603849 h 603849"/>
                <a:gd name="connsiteX6" fmla="*/ 8186468 w 8186468"/>
                <a:gd name="connsiteY6" fmla="*/ 603849 h 603849"/>
                <a:gd name="connsiteX0" fmla="*/ 8074325 w 8074325"/>
                <a:gd name="connsiteY0" fmla="*/ 603849 h 603849"/>
                <a:gd name="connsiteX1" fmla="*/ 7850038 w 8074325"/>
                <a:gd name="connsiteY1" fmla="*/ 172528 h 603849"/>
                <a:gd name="connsiteX2" fmla="*/ 7962182 w 8074325"/>
                <a:gd name="connsiteY2" fmla="*/ 0 h 603849"/>
                <a:gd name="connsiteX3" fmla="*/ 0 w 8074325"/>
                <a:gd name="connsiteY3" fmla="*/ 8626 h 603849"/>
                <a:gd name="connsiteX4" fmla="*/ 129397 w 8074325"/>
                <a:gd name="connsiteY4" fmla="*/ 603849 h 603849"/>
                <a:gd name="connsiteX5" fmla="*/ 8074325 w 8074325"/>
                <a:gd name="connsiteY5" fmla="*/ 603849 h 603849"/>
                <a:gd name="connsiteX0" fmla="*/ 8417032 w 8417032"/>
                <a:gd name="connsiteY0" fmla="*/ 603849 h 603849"/>
                <a:gd name="connsiteX1" fmla="*/ 8192745 w 8417032"/>
                <a:gd name="connsiteY1" fmla="*/ 172528 h 603849"/>
                <a:gd name="connsiteX2" fmla="*/ 8304889 w 8417032"/>
                <a:gd name="connsiteY2" fmla="*/ 0 h 603849"/>
                <a:gd name="connsiteX3" fmla="*/ 342707 w 8417032"/>
                <a:gd name="connsiteY3" fmla="*/ 8626 h 603849"/>
                <a:gd name="connsiteX4" fmla="*/ 0 w 8417032"/>
                <a:gd name="connsiteY4" fmla="*/ 601591 h 603849"/>
                <a:gd name="connsiteX5" fmla="*/ 8417032 w 8417032"/>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1591 h 603849"/>
                <a:gd name="connsiteX5" fmla="*/ 8417269 w 8417269"/>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3849 h 603849"/>
                <a:gd name="connsiteX5" fmla="*/ 8417269 w 8417269"/>
                <a:gd name="connsiteY5" fmla="*/ 603849 h 603849"/>
                <a:gd name="connsiteX0" fmla="*/ 8491108 w 8491108"/>
                <a:gd name="connsiteY0" fmla="*/ 603849 h 603849"/>
                <a:gd name="connsiteX1" fmla="*/ 8192982 w 8491108"/>
                <a:gd name="connsiteY1" fmla="*/ 172528 h 603849"/>
                <a:gd name="connsiteX2" fmla="*/ 8305126 w 8491108"/>
                <a:gd name="connsiteY2" fmla="*/ 0 h 603849"/>
                <a:gd name="connsiteX3" fmla="*/ 0 w 8491108"/>
                <a:gd name="connsiteY3" fmla="*/ 8626 h 603849"/>
                <a:gd name="connsiteX4" fmla="*/ 237 w 8491108"/>
                <a:gd name="connsiteY4" fmla="*/ 603849 h 603849"/>
                <a:gd name="connsiteX5" fmla="*/ 8491108 w 8491108"/>
                <a:gd name="connsiteY5" fmla="*/ 603849 h 603849"/>
                <a:gd name="connsiteX0" fmla="*/ 8491108 w 8491108"/>
                <a:gd name="connsiteY0" fmla="*/ 595828 h 595828"/>
                <a:gd name="connsiteX1" fmla="*/ 8192982 w 8491108"/>
                <a:gd name="connsiteY1" fmla="*/ 164507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5828 h 595828"/>
                <a:gd name="connsiteX1" fmla="*/ 8335388 w 8491108"/>
                <a:gd name="connsiteY1" fmla="*/ 239370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7306 h 597306"/>
                <a:gd name="connsiteX1" fmla="*/ 8335388 w 8491108"/>
                <a:gd name="connsiteY1" fmla="*/ 240848 h 597306"/>
                <a:gd name="connsiteX2" fmla="*/ 8455442 w 8491108"/>
                <a:gd name="connsiteY2" fmla="*/ 1478 h 597306"/>
                <a:gd name="connsiteX3" fmla="*/ 0 w 8491108"/>
                <a:gd name="connsiteY3" fmla="*/ 0 h 597306"/>
                <a:gd name="connsiteX4" fmla="*/ 237 w 8491108"/>
                <a:gd name="connsiteY4" fmla="*/ 597306 h 597306"/>
                <a:gd name="connsiteX5" fmla="*/ 8491108 w 8491108"/>
                <a:gd name="connsiteY5" fmla="*/ 597306 h 597306"/>
                <a:gd name="connsiteX0" fmla="*/ 8491108 w 8491108"/>
                <a:gd name="connsiteY0" fmla="*/ 597306 h 597306"/>
                <a:gd name="connsiteX1" fmla="*/ 8335388 w 8491108"/>
                <a:gd name="connsiteY1" fmla="*/ 240848 h 597306"/>
                <a:gd name="connsiteX2" fmla="*/ 2033595 w 8491108"/>
                <a:gd name="connsiteY2" fmla="*/ 594144 h 597306"/>
                <a:gd name="connsiteX3" fmla="*/ 0 w 8491108"/>
                <a:gd name="connsiteY3" fmla="*/ 0 h 597306"/>
                <a:gd name="connsiteX4" fmla="*/ 237 w 8491108"/>
                <a:gd name="connsiteY4" fmla="*/ 597306 h 597306"/>
                <a:gd name="connsiteX5" fmla="*/ 8491108 w 8491108"/>
                <a:gd name="connsiteY5" fmla="*/ 597306 h 597306"/>
                <a:gd name="connsiteX0" fmla="*/ 8490871 w 8490871"/>
                <a:gd name="connsiteY0" fmla="*/ 356458 h 356458"/>
                <a:gd name="connsiteX1" fmla="*/ 8335151 w 8490871"/>
                <a:gd name="connsiteY1" fmla="*/ 0 h 356458"/>
                <a:gd name="connsiteX2" fmla="*/ 2033358 w 8490871"/>
                <a:gd name="connsiteY2" fmla="*/ 353296 h 356458"/>
                <a:gd name="connsiteX3" fmla="*/ 0 w 8490871"/>
                <a:gd name="connsiteY3" fmla="*/ 356458 h 356458"/>
                <a:gd name="connsiteX4" fmla="*/ 8490871 w 8490871"/>
                <a:gd name="connsiteY4" fmla="*/ 356458 h 356458"/>
                <a:gd name="connsiteX0" fmla="*/ 6457513 w 6457513"/>
                <a:gd name="connsiteY0" fmla="*/ 356458 h 356458"/>
                <a:gd name="connsiteX1" fmla="*/ 6301793 w 6457513"/>
                <a:gd name="connsiteY1" fmla="*/ 0 h 356458"/>
                <a:gd name="connsiteX2" fmla="*/ 0 w 6457513"/>
                <a:gd name="connsiteY2" fmla="*/ 353296 h 356458"/>
                <a:gd name="connsiteX3" fmla="*/ 6457513 w 6457513"/>
                <a:gd name="connsiteY3" fmla="*/ 356458 h 356458"/>
                <a:gd name="connsiteX0" fmla="*/ 6448118 w 6448118"/>
                <a:gd name="connsiteY0" fmla="*/ 356458 h 357106"/>
                <a:gd name="connsiteX1" fmla="*/ 6292398 w 6448118"/>
                <a:gd name="connsiteY1" fmla="*/ 0 h 357106"/>
                <a:gd name="connsiteX2" fmla="*/ 0 w 6448118"/>
                <a:gd name="connsiteY2" fmla="*/ 357106 h 357106"/>
                <a:gd name="connsiteX3" fmla="*/ 6448118 w 6448118"/>
                <a:gd name="connsiteY3" fmla="*/ 356458 h 357106"/>
              </a:gdLst>
              <a:ahLst/>
              <a:cxnLst>
                <a:cxn ang="0">
                  <a:pos x="connsiteX0" y="connsiteY0"/>
                </a:cxn>
                <a:cxn ang="0">
                  <a:pos x="connsiteX1" y="connsiteY1"/>
                </a:cxn>
                <a:cxn ang="0">
                  <a:pos x="connsiteX2" y="connsiteY2"/>
                </a:cxn>
                <a:cxn ang="0">
                  <a:pos x="connsiteX3" y="connsiteY3"/>
                </a:cxn>
              </a:cxnLst>
              <a:rect l="l" t="t" r="r" b="b"/>
              <a:pathLst>
                <a:path w="6448118" h="357106">
                  <a:moveTo>
                    <a:pt x="6448118" y="356458"/>
                  </a:moveTo>
                  <a:lnTo>
                    <a:pt x="6292398" y="0"/>
                  </a:lnTo>
                  <a:lnTo>
                    <a:pt x="0" y="357106"/>
                  </a:lnTo>
                  <a:lnTo>
                    <a:pt x="6448118" y="356458"/>
                  </a:lnTo>
                  <a:close/>
                </a:path>
              </a:pathLst>
            </a:custGeom>
            <a:solidFill>
              <a:srgbClr val="B6B6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noProof="0" dirty="0"/>
            </a:p>
          </p:txBody>
        </p:sp>
        <p:sp>
          <p:nvSpPr>
            <p:cNvPr id="23" name="Volný tvar 22"/>
            <p:cNvSpPr/>
            <p:nvPr userDrawn="1"/>
          </p:nvSpPr>
          <p:spPr>
            <a:xfrm>
              <a:off x="3635636" y="6964787"/>
              <a:ext cx="4772907" cy="239370"/>
            </a:xfrm>
            <a:custGeom>
              <a:avLst/>
              <a:gdLst>
                <a:gd name="connsiteX0" fmla="*/ 8186468 w 8186468"/>
                <a:gd name="connsiteY0" fmla="*/ 603849 h 603849"/>
                <a:gd name="connsiteX1" fmla="*/ 7962181 w 8186468"/>
                <a:gd name="connsiteY1" fmla="*/ 172528 h 603849"/>
                <a:gd name="connsiteX2" fmla="*/ 8074325 w 8186468"/>
                <a:gd name="connsiteY2" fmla="*/ 0 h 603849"/>
                <a:gd name="connsiteX3" fmla="*/ 112143 w 8186468"/>
                <a:gd name="connsiteY3" fmla="*/ 8626 h 603849"/>
                <a:gd name="connsiteX4" fmla="*/ 0 w 8186468"/>
                <a:gd name="connsiteY4" fmla="*/ 138023 h 603849"/>
                <a:gd name="connsiteX5" fmla="*/ 241540 w 8186468"/>
                <a:gd name="connsiteY5" fmla="*/ 603849 h 603849"/>
                <a:gd name="connsiteX6" fmla="*/ 8186468 w 8186468"/>
                <a:gd name="connsiteY6" fmla="*/ 603849 h 603849"/>
                <a:gd name="connsiteX0" fmla="*/ 8074325 w 8074325"/>
                <a:gd name="connsiteY0" fmla="*/ 603849 h 603849"/>
                <a:gd name="connsiteX1" fmla="*/ 7850038 w 8074325"/>
                <a:gd name="connsiteY1" fmla="*/ 172528 h 603849"/>
                <a:gd name="connsiteX2" fmla="*/ 7962182 w 8074325"/>
                <a:gd name="connsiteY2" fmla="*/ 0 h 603849"/>
                <a:gd name="connsiteX3" fmla="*/ 0 w 8074325"/>
                <a:gd name="connsiteY3" fmla="*/ 8626 h 603849"/>
                <a:gd name="connsiteX4" fmla="*/ 129397 w 8074325"/>
                <a:gd name="connsiteY4" fmla="*/ 603849 h 603849"/>
                <a:gd name="connsiteX5" fmla="*/ 8074325 w 8074325"/>
                <a:gd name="connsiteY5" fmla="*/ 603849 h 603849"/>
                <a:gd name="connsiteX0" fmla="*/ 8417032 w 8417032"/>
                <a:gd name="connsiteY0" fmla="*/ 603849 h 603849"/>
                <a:gd name="connsiteX1" fmla="*/ 8192745 w 8417032"/>
                <a:gd name="connsiteY1" fmla="*/ 172528 h 603849"/>
                <a:gd name="connsiteX2" fmla="*/ 8304889 w 8417032"/>
                <a:gd name="connsiteY2" fmla="*/ 0 h 603849"/>
                <a:gd name="connsiteX3" fmla="*/ 342707 w 8417032"/>
                <a:gd name="connsiteY3" fmla="*/ 8626 h 603849"/>
                <a:gd name="connsiteX4" fmla="*/ 0 w 8417032"/>
                <a:gd name="connsiteY4" fmla="*/ 601591 h 603849"/>
                <a:gd name="connsiteX5" fmla="*/ 8417032 w 8417032"/>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1591 h 603849"/>
                <a:gd name="connsiteX5" fmla="*/ 8417269 w 8417269"/>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3849 h 603849"/>
                <a:gd name="connsiteX5" fmla="*/ 8417269 w 8417269"/>
                <a:gd name="connsiteY5" fmla="*/ 603849 h 603849"/>
                <a:gd name="connsiteX0" fmla="*/ 8491108 w 8491108"/>
                <a:gd name="connsiteY0" fmla="*/ 603849 h 603849"/>
                <a:gd name="connsiteX1" fmla="*/ 8192982 w 8491108"/>
                <a:gd name="connsiteY1" fmla="*/ 172528 h 603849"/>
                <a:gd name="connsiteX2" fmla="*/ 8305126 w 8491108"/>
                <a:gd name="connsiteY2" fmla="*/ 0 h 603849"/>
                <a:gd name="connsiteX3" fmla="*/ 0 w 8491108"/>
                <a:gd name="connsiteY3" fmla="*/ 8626 h 603849"/>
                <a:gd name="connsiteX4" fmla="*/ 237 w 8491108"/>
                <a:gd name="connsiteY4" fmla="*/ 603849 h 603849"/>
                <a:gd name="connsiteX5" fmla="*/ 8491108 w 8491108"/>
                <a:gd name="connsiteY5" fmla="*/ 603849 h 603849"/>
                <a:gd name="connsiteX0" fmla="*/ 8491108 w 8491108"/>
                <a:gd name="connsiteY0" fmla="*/ 595828 h 595828"/>
                <a:gd name="connsiteX1" fmla="*/ 8192982 w 8491108"/>
                <a:gd name="connsiteY1" fmla="*/ 164507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5828 h 595828"/>
                <a:gd name="connsiteX1" fmla="*/ 8335388 w 8491108"/>
                <a:gd name="connsiteY1" fmla="*/ 239370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7306 h 597306"/>
                <a:gd name="connsiteX1" fmla="*/ 8335388 w 8491108"/>
                <a:gd name="connsiteY1" fmla="*/ 240848 h 597306"/>
                <a:gd name="connsiteX2" fmla="*/ 8455442 w 8491108"/>
                <a:gd name="connsiteY2" fmla="*/ 1478 h 597306"/>
                <a:gd name="connsiteX3" fmla="*/ 0 w 8491108"/>
                <a:gd name="connsiteY3" fmla="*/ 0 h 597306"/>
                <a:gd name="connsiteX4" fmla="*/ 237 w 8491108"/>
                <a:gd name="connsiteY4" fmla="*/ 597306 h 597306"/>
                <a:gd name="connsiteX5" fmla="*/ 8491108 w 8491108"/>
                <a:gd name="connsiteY5" fmla="*/ 597306 h 597306"/>
                <a:gd name="connsiteX0" fmla="*/ 3747792 w 8455442"/>
                <a:gd name="connsiteY0" fmla="*/ 0 h 601133"/>
                <a:gd name="connsiteX1" fmla="*/ 8335388 w 8455442"/>
                <a:gd name="connsiteY1" fmla="*/ 244675 h 601133"/>
                <a:gd name="connsiteX2" fmla="*/ 8455442 w 8455442"/>
                <a:gd name="connsiteY2" fmla="*/ 5305 h 601133"/>
                <a:gd name="connsiteX3" fmla="*/ 0 w 8455442"/>
                <a:gd name="connsiteY3" fmla="*/ 3827 h 601133"/>
                <a:gd name="connsiteX4" fmla="*/ 237 w 8455442"/>
                <a:gd name="connsiteY4" fmla="*/ 601133 h 601133"/>
                <a:gd name="connsiteX5" fmla="*/ 3747792 w 8455442"/>
                <a:gd name="connsiteY5" fmla="*/ 0 h 601133"/>
                <a:gd name="connsiteX0" fmla="*/ 3747792 w 8455442"/>
                <a:gd name="connsiteY0" fmla="*/ 0 h 244675"/>
                <a:gd name="connsiteX1" fmla="*/ 8335388 w 8455442"/>
                <a:gd name="connsiteY1" fmla="*/ 244675 h 244675"/>
                <a:gd name="connsiteX2" fmla="*/ 8455442 w 8455442"/>
                <a:gd name="connsiteY2" fmla="*/ 5305 h 244675"/>
                <a:gd name="connsiteX3" fmla="*/ 0 w 8455442"/>
                <a:gd name="connsiteY3" fmla="*/ 3827 h 244675"/>
                <a:gd name="connsiteX4" fmla="*/ 3747792 w 8455442"/>
                <a:gd name="connsiteY4" fmla="*/ 0 h 244675"/>
                <a:gd name="connsiteX0" fmla="*/ 0 w 4707650"/>
                <a:gd name="connsiteY0" fmla="*/ 0 h 244675"/>
                <a:gd name="connsiteX1" fmla="*/ 4587596 w 4707650"/>
                <a:gd name="connsiteY1" fmla="*/ 244675 h 244675"/>
                <a:gd name="connsiteX2" fmla="*/ 4707650 w 4707650"/>
                <a:gd name="connsiteY2" fmla="*/ 5305 h 244675"/>
                <a:gd name="connsiteX3" fmla="*/ 0 w 4707650"/>
                <a:gd name="connsiteY3" fmla="*/ 0 h 244675"/>
                <a:gd name="connsiteX0" fmla="*/ 0 w 4707650"/>
                <a:gd name="connsiteY0" fmla="*/ 410 h 239370"/>
                <a:gd name="connsiteX1" fmla="*/ 4587596 w 4707650"/>
                <a:gd name="connsiteY1" fmla="*/ 239370 h 239370"/>
                <a:gd name="connsiteX2" fmla="*/ 4707650 w 4707650"/>
                <a:gd name="connsiteY2" fmla="*/ 0 h 239370"/>
                <a:gd name="connsiteX3" fmla="*/ 0 w 4707650"/>
                <a:gd name="connsiteY3" fmla="*/ 410 h 239370"/>
              </a:gdLst>
              <a:ahLst/>
              <a:cxnLst>
                <a:cxn ang="0">
                  <a:pos x="connsiteX0" y="connsiteY0"/>
                </a:cxn>
                <a:cxn ang="0">
                  <a:pos x="connsiteX1" y="connsiteY1"/>
                </a:cxn>
                <a:cxn ang="0">
                  <a:pos x="connsiteX2" y="connsiteY2"/>
                </a:cxn>
                <a:cxn ang="0">
                  <a:pos x="connsiteX3" y="connsiteY3"/>
                </a:cxn>
              </a:cxnLst>
              <a:rect l="l" t="t" r="r" b="b"/>
              <a:pathLst>
                <a:path w="4707650" h="239370">
                  <a:moveTo>
                    <a:pt x="0" y="410"/>
                  </a:moveTo>
                  <a:lnTo>
                    <a:pt x="4587596" y="239370"/>
                  </a:lnTo>
                  <a:lnTo>
                    <a:pt x="4707650" y="0"/>
                  </a:lnTo>
                  <a:lnTo>
                    <a:pt x="0" y="410"/>
                  </a:lnTo>
                  <a:close/>
                </a:path>
              </a:pathLst>
            </a:custGeom>
            <a:solidFill>
              <a:srgbClr val="C3C3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noProof="0" dirty="0"/>
            </a:p>
          </p:txBody>
        </p:sp>
        <p:cxnSp>
          <p:nvCxnSpPr>
            <p:cNvPr id="24" name="Přímá spojnice 23"/>
            <p:cNvCxnSpPr/>
            <p:nvPr userDrawn="1"/>
          </p:nvCxnSpPr>
          <p:spPr>
            <a:xfrm flipH="1" flipV="1">
              <a:off x="8389400" y="6966692"/>
              <a:ext cx="2304000" cy="402"/>
            </a:xfrm>
            <a:prstGeom prst="line">
              <a:avLst/>
            </a:prstGeom>
            <a:ln w="6350">
              <a:solidFill>
                <a:srgbClr val="C3C3C3"/>
              </a:solidFill>
            </a:ln>
          </p:spPr>
          <p:style>
            <a:lnRef idx="1">
              <a:schemeClr val="accent1"/>
            </a:lnRef>
            <a:fillRef idx="0">
              <a:schemeClr val="accent1"/>
            </a:fillRef>
            <a:effectRef idx="0">
              <a:schemeClr val="accent1"/>
            </a:effectRef>
            <a:fontRef idx="minor">
              <a:schemeClr val="tx1"/>
            </a:fontRef>
          </p:style>
        </p:cxnSp>
      </p:grpSp>
      <p:graphicFrame>
        <p:nvGraphicFramePr>
          <p:cNvPr id="6" name="Objekt 5" hidden="1"/>
          <p:cNvGraphicFramePr>
            <a:graphicFrameLocks noChangeAspect="1"/>
          </p:cNvGraphicFramePr>
          <p:nvPr userDrawn="1">
            <p:custDataLst>
              <p:tags r:id="rId13"/>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5" imgW="399" imgH="398" progId="TCLayout.ActiveDocument.1">
                  <p:embed/>
                </p:oleObj>
              </mc:Choice>
              <mc:Fallback>
                <p:oleObj name="think-cell Slide" r:id="rId15" imgW="399" imgH="398" progId="TCLayout.ActiveDocument.1">
                  <p:embed/>
                  <p:pic>
                    <p:nvPicPr>
                      <p:cNvPr id="6" name="Objekt 5" hidden="1"/>
                      <p:cNvPicPr/>
                      <p:nvPr/>
                    </p:nvPicPr>
                    <p:blipFill>
                      <a:blip r:embed="rId16"/>
                      <a:stretch>
                        <a:fillRect/>
                      </a:stretch>
                    </p:blipFill>
                    <p:spPr>
                      <a:xfrm>
                        <a:off x="1589" y="1589"/>
                        <a:ext cx="1587" cy="1587"/>
                      </a:xfrm>
                      <a:prstGeom prst="rect">
                        <a:avLst/>
                      </a:prstGeom>
                    </p:spPr>
                  </p:pic>
                </p:oleObj>
              </mc:Fallback>
            </mc:AlternateContent>
          </a:graphicData>
        </a:graphic>
      </p:graphicFrame>
      <p:sp>
        <p:nvSpPr>
          <p:cNvPr id="3" name="Zástupný symbol pro text 2"/>
          <p:cNvSpPr>
            <a:spLocks noGrp="1"/>
          </p:cNvSpPr>
          <p:nvPr>
            <p:ph type="body" idx="1"/>
          </p:nvPr>
        </p:nvSpPr>
        <p:spPr>
          <a:xfrm>
            <a:off x="342850" y="1439562"/>
            <a:ext cx="10006115" cy="5183685"/>
          </a:xfrm>
          <a:prstGeom prst="rect">
            <a:avLst/>
          </a:prstGeom>
        </p:spPr>
        <p:txBody>
          <a:bodyPr vert="horz" lIns="0" tIns="0" rIns="0" bIns="0" rtlCol="0">
            <a:normAutofit/>
          </a:body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5" name="Zástupný symbol pro zápatí 4"/>
          <p:cNvSpPr>
            <a:spLocks noGrp="1"/>
          </p:cNvSpPr>
          <p:nvPr>
            <p:ph type="ftr" sz="quarter" idx="3"/>
          </p:nvPr>
        </p:nvSpPr>
        <p:spPr>
          <a:xfrm>
            <a:off x="719894" y="7162496"/>
            <a:ext cx="6173596" cy="179962"/>
          </a:xfrm>
          <a:prstGeom prst="rect">
            <a:avLst/>
          </a:prstGeom>
        </p:spPr>
        <p:txBody>
          <a:bodyPr vert="horz" lIns="0" tIns="0" rIns="0" bIns="0" rtlCol="0" anchor="b" anchorCtr="0"/>
          <a:lstStyle>
            <a:lvl1pPr algn="l">
              <a:defRPr sz="700">
                <a:solidFill>
                  <a:schemeClr val="tx1"/>
                </a:solidFill>
                <a:latin typeface="SKODA Next" panose="020B0504020603020204" pitchFamily="34" charset="0"/>
                <a:ea typeface="Verdana" pitchFamily="34" charset="0"/>
                <a:cs typeface="Verdana" pitchFamily="34" charset="0"/>
              </a:defRPr>
            </a:lvl1pPr>
          </a:lstStyle>
          <a:p>
            <a:endParaRPr lang="cs-CZ" dirty="0"/>
          </a:p>
        </p:txBody>
      </p:sp>
      <p:sp>
        <p:nvSpPr>
          <p:cNvPr id="7" name="Zástupný symbol pro číslo snímku 6"/>
          <p:cNvSpPr>
            <a:spLocks noGrp="1"/>
          </p:cNvSpPr>
          <p:nvPr>
            <p:ph type="sldNum" sz="quarter" idx="4"/>
          </p:nvPr>
        </p:nvSpPr>
        <p:spPr>
          <a:xfrm>
            <a:off x="342849" y="7162496"/>
            <a:ext cx="269960" cy="179962"/>
          </a:xfrm>
          <a:prstGeom prst="rect">
            <a:avLst/>
          </a:prstGeom>
        </p:spPr>
        <p:txBody>
          <a:bodyPr vert="horz" lIns="0" tIns="0" rIns="0" bIns="0" rtlCol="0" anchor="b" anchorCtr="0"/>
          <a:lstStyle>
            <a:lvl1pPr algn="l">
              <a:defRPr sz="700">
                <a:solidFill>
                  <a:schemeClr val="tx1"/>
                </a:solidFill>
                <a:latin typeface="SKODA Next" panose="020B0504020603020204" pitchFamily="34" charset="0"/>
                <a:ea typeface="Verdana" pitchFamily="34" charset="0"/>
                <a:cs typeface="Verdana" pitchFamily="34" charset="0"/>
              </a:defRPr>
            </a:lvl1pPr>
          </a:lstStyle>
          <a:p>
            <a:fld id="{1E956721-BB38-4972-8ACD-5A2C9377E3B4}" type="slidenum">
              <a:rPr lang="cs-CZ" smtClean="0"/>
              <a:pPr/>
              <a:t>‹#›</a:t>
            </a:fld>
            <a:endParaRPr lang="cs-CZ" dirty="0"/>
          </a:p>
        </p:txBody>
      </p:sp>
      <p:sp>
        <p:nvSpPr>
          <p:cNvPr id="2" name="Zástupný symbol pro nadpis 1"/>
          <p:cNvSpPr>
            <a:spLocks noGrp="1"/>
          </p:cNvSpPr>
          <p:nvPr>
            <p:ph type="title"/>
          </p:nvPr>
        </p:nvSpPr>
        <p:spPr>
          <a:xfrm>
            <a:off x="342850" y="360287"/>
            <a:ext cx="10006115" cy="431909"/>
          </a:xfrm>
          <a:prstGeom prst="rect">
            <a:avLst/>
          </a:prstGeom>
        </p:spPr>
        <p:txBody>
          <a:bodyPr vert="horz" lIns="0" tIns="0" rIns="0" bIns="0" rtlCol="0" anchor="t" anchorCtr="0">
            <a:noAutofit/>
          </a:bodyPr>
          <a:lstStyle/>
          <a:p>
            <a:r>
              <a:rPr lang="cs-CZ" noProof="0" dirty="0"/>
              <a:t>Nadpis (shrnutí stránky)</a:t>
            </a:r>
          </a:p>
        </p:txBody>
      </p:sp>
      <p:sp>
        <p:nvSpPr>
          <p:cNvPr id="14" name="TextovéPole 13"/>
          <p:cNvSpPr txBox="1"/>
          <p:nvPr userDrawn="1"/>
        </p:nvSpPr>
        <p:spPr>
          <a:xfrm>
            <a:off x="7560000" y="7354800"/>
            <a:ext cx="720000" cy="108000"/>
          </a:xfrm>
          <a:prstGeom prst="rect">
            <a:avLst/>
          </a:prstGeom>
          <a:noFill/>
        </p:spPr>
        <p:txBody>
          <a:bodyPr wrap="square" lIns="0" tIns="0" rIns="0" bIns="0" rtlCol="0" anchor="b" anchorCtr="0">
            <a:normAutofit/>
          </a:bodyPr>
          <a:lstStyle/>
          <a:p>
            <a:pPr algn="r"/>
            <a:r>
              <a:rPr lang="en-GB" sz="700" noProof="0" dirty="0">
                <a:latin typeface="SKODA Next" panose="020B0504020603020204" pitchFamily="34" charset="0"/>
                <a:cs typeface="Arial" panose="020B0604020202020204" pitchFamily="34" charset="0"/>
              </a:rPr>
              <a:t>CONFIDENTIAL</a:t>
            </a:r>
          </a:p>
        </p:txBody>
      </p:sp>
    </p:spTree>
    <p:extLst>
      <p:ext uri="{BB962C8B-B14F-4D97-AF65-F5344CB8AC3E}">
        <p14:creationId xmlns:p14="http://schemas.microsoft.com/office/powerpoint/2010/main" val="3998608398"/>
      </p:ext>
    </p:extLst>
  </p:cSld>
  <p:clrMap bg1="lt1" tx1="dk1" bg2="lt2" tx2="dk2" accent1="accent1" accent2="accent2" accent3="accent3" accent4="accent4" accent5="accent5" accent6="accent6" hlink="hlink" folHlink="folHlink"/>
  <p:sldLayoutIdLst>
    <p:sldLayoutId id="2147483724" r:id="rId1"/>
    <p:sldLayoutId id="2147483736" r:id="rId2"/>
    <p:sldLayoutId id="2147483735" r:id="rId3"/>
    <p:sldLayoutId id="2147483726" r:id="rId4"/>
    <p:sldLayoutId id="2147483727" r:id="rId5"/>
    <p:sldLayoutId id="2147483728" r:id="rId6"/>
    <p:sldLayoutId id="2147483729" r:id="rId7"/>
    <p:sldLayoutId id="2147483730" r:id="rId8"/>
    <p:sldLayoutId id="2147483731" r:id="rId9"/>
    <p:sldLayoutId id="2147483732" r:id="rId10"/>
    <p:sldLayoutId id="2147483741" r:id="rId11"/>
  </p:sldLayoutIdLst>
  <p:hf hdr="0" ftr="0" dt="0"/>
  <p:txStyles>
    <p:titleStyle>
      <a:lvl1pPr algn="l" defTabSz="1043056" rtl="0" eaLnBrk="1" latinLnBrk="0" hangingPunct="1">
        <a:lnSpc>
          <a:spcPts val="3200"/>
        </a:lnSpc>
        <a:spcBef>
          <a:spcPct val="0"/>
        </a:spcBef>
        <a:buNone/>
        <a:defRPr sz="2800" b="1" kern="1200">
          <a:solidFill>
            <a:schemeClr val="tx1"/>
          </a:solidFill>
          <a:latin typeface="SKODA Next" panose="020B0504020603020204" pitchFamily="34" charset="0"/>
          <a:ea typeface="Verdana" pitchFamily="34" charset="0"/>
          <a:cs typeface="Verdana" pitchFamily="34" charset="0"/>
        </a:defRPr>
      </a:lvl1pPr>
    </p:titleStyle>
    <p:bodyStyle>
      <a:lvl1pPr marL="18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1pPr>
      <a:lvl2pPr marL="36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2pPr>
      <a:lvl3pPr marL="54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3pPr>
      <a:lvl4pPr marL="72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4pPr>
      <a:lvl5pPr marL="90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7"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cs-CZ"/>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39"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7" userDrawn="1">
          <p15:clr>
            <a:srgbClr val="F26B43"/>
          </p15:clr>
        </p15:guide>
        <p15:guide id="2" pos="3255" userDrawn="1">
          <p15:clr>
            <a:srgbClr val="F26B43"/>
          </p15:clr>
        </p15:guide>
        <p15:guide id="3" pos="2393" userDrawn="1">
          <p15:clr>
            <a:srgbClr val="F26B43"/>
          </p15:clr>
        </p15:guide>
        <p15:guide id="4" pos="2166" userDrawn="1">
          <p15:clr>
            <a:srgbClr val="F26B43"/>
          </p15:clr>
        </p15:guide>
        <p15:guide id="5" pos="1304" userDrawn="1">
          <p15:clr>
            <a:srgbClr val="F26B43"/>
          </p15:clr>
        </p15:guide>
        <p15:guide id="6" pos="1077" userDrawn="1">
          <p15:clr>
            <a:srgbClr val="F26B43"/>
          </p15:clr>
        </p15:guide>
        <p15:guide id="7" pos="216" userDrawn="1">
          <p15:clr>
            <a:srgbClr val="F26B43"/>
          </p15:clr>
        </p15:guide>
        <p15:guide id="8" pos="3480" userDrawn="1">
          <p15:clr>
            <a:srgbClr val="F26B43"/>
          </p15:clr>
        </p15:guide>
        <p15:guide id="9" pos="4342" userDrawn="1">
          <p15:clr>
            <a:srgbClr val="F26B43"/>
          </p15:clr>
        </p15:guide>
        <p15:guide id="10" pos="4569" userDrawn="1">
          <p15:clr>
            <a:srgbClr val="F26B43"/>
          </p15:clr>
        </p15:guide>
        <p15:guide id="11" pos="5431" userDrawn="1">
          <p15:clr>
            <a:srgbClr val="F26B43"/>
          </p15:clr>
        </p15:guide>
        <p15:guide id="12" pos="5658" userDrawn="1">
          <p15:clr>
            <a:srgbClr val="F26B43"/>
          </p15:clr>
        </p15:guide>
        <p15:guide id="13" pos="6519" userDrawn="1">
          <p15:clr>
            <a:srgbClr val="F26B43"/>
          </p15:clr>
        </p15:guide>
        <p15:guide id="14" orient="horz" pos="907" userDrawn="1">
          <p15:clr>
            <a:srgbClr val="F26B43"/>
          </p15:clr>
        </p15:guide>
        <p15:guide id="15" orient="horz" pos="4172" userDrawn="1">
          <p15:clr>
            <a:srgbClr val="F26B43"/>
          </p15:clr>
        </p15:guide>
        <p15:guide id="16" orient="horz" pos="2471" userDrawn="1">
          <p15:clr>
            <a:srgbClr val="F26B43"/>
          </p15:clr>
        </p15:guide>
        <p15:guide id="17" orient="horz" pos="260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3" name="Skupina 12"/>
          <p:cNvGrpSpPr/>
          <p:nvPr userDrawn="1"/>
        </p:nvGrpSpPr>
        <p:grpSpPr>
          <a:xfrm>
            <a:off x="0" y="6961281"/>
            <a:ext cx="10693400" cy="599982"/>
            <a:chOff x="0" y="6961281"/>
            <a:chExt cx="10693400" cy="599982"/>
          </a:xfrm>
        </p:grpSpPr>
        <p:pic>
          <p:nvPicPr>
            <p:cNvPr id="20" name="Obrázek 19"/>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623721" y="7084105"/>
              <a:ext cx="1726779" cy="360000"/>
            </a:xfrm>
            <a:prstGeom prst="rect">
              <a:avLst/>
            </a:prstGeom>
          </p:spPr>
        </p:pic>
        <p:sp>
          <p:nvSpPr>
            <p:cNvPr id="21" name="Volný tvar 20"/>
            <p:cNvSpPr/>
            <p:nvPr userDrawn="1"/>
          </p:nvSpPr>
          <p:spPr>
            <a:xfrm>
              <a:off x="0" y="6961281"/>
              <a:ext cx="8444706" cy="599334"/>
            </a:xfrm>
            <a:custGeom>
              <a:avLst/>
              <a:gdLst>
                <a:gd name="connsiteX0" fmla="*/ 8186468 w 8186468"/>
                <a:gd name="connsiteY0" fmla="*/ 603849 h 603849"/>
                <a:gd name="connsiteX1" fmla="*/ 7962181 w 8186468"/>
                <a:gd name="connsiteY1" fmla="*/ 172528 h 603849"/>
                <a:gd name="connsiteX2" fmla="*/ 8074325 w 8186468"/>
                <a:gd name="connsiteY2" fmla="*/ 0 h 603849"/>
                <a:gd name="connsiteX3" fmla="*/ 112143 w 8186468"/>
                <a:gd name="connsiteY3" fmla="*/ 8626 h 603849"/>
                <a:gd name="connsiteX4" fmla="*/ 0 w 8186468"/>
                <a:gd name="connsiteY4" fmla="*/ 138023 h 603849"/>
                <a:gd name="connsiteX5" fmla="*/ 241540 w 8186468"/>
                <a:gd name="connsiteY5" fmla="*/ 603849 h 603849"/>
                <a:gd name="connsiteX6" fmla="*/ 8186468 w 8186468"/>
                <a:gd name="connsiteY6" fmla="*/ 603849 h 603849"/>
                <a:gd name="connsiteX0" fmla="*/ 8074325 w 8074325"/>
                <a:gd name="connsiteY0" fmla="*/ 603849 h 603849"/>
                <a:gd name="connsiteX1" fmla="*/ 7850038 w 8074325"/>
                <a:gd name="connsiteY1" fmla="*/ 172528 h 603849"/>
                <a:gd name="connsiteX2" fmla="*/ 7962182 w 8074325"/>
                <a:gd name="connsiteY2" fmla="*/ 0 h 603849"/>
                <a:gd name="connsiteX3" fmla="*/ 0 w 8074325"/>
                <a:gd name="connsiteY3" fmla="*/ 8626 h 603849"/>
                <a:gd name="connsiteX4" fmla="*/ 129397 w 8074325"/>
                <a:gd name="connsiteY4" fmla="*/ 603849 h 603849"/>
                <a:gd name="connsiteX5" fmla="*/ 8074325 w 8074325"/>
                <a:gd name="connsiteY5" fmla="*/ 603849 h 603849"/>
                <a:gd name="connsiteX0" fmla="*/ 8417032 w 8417032"/>
                <a:gd name="connsiteY0" fmla="*/ 603849 h 603849"/>
                <a:gd name="connsiteX1" fmla="*/ 8192745 w 8417032"/>
                <a:gd name="connsiteY1" fmla="*/ 172528 h 603849"/>
                <a:gd name="connsiteX2" fmla="*/ 8304889 w 8417032"/>
                <a:gd name="connsiteY2" fmla="*/ 0 h 603849"/>
                <a:gd name="connsiteX3" fmla="*/ 342707 w 8417032"/>
                <a:gd name="connsiteY3" fmla="*/ 8626 h 603849"/>
                <a:gd name="connsiteX4" fmla="*/ 0 w 8417032"/>
                <a:gd name="connsiteY4" fmla="*/ 601591 h 603849"/>
                <a:gd name="connsiteX5" fmla="*/ 8417032 w 8417032"/>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1591 h 603849"/>
                <a:gd name="connsiteX5" fmla="*/ 8417269 w 8417269"/>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3849 h 603849"/>
                <a:gd name="connsiteX5" fmla="*/ 8417269 w 8417269"/>
                <a:gd name="connsiteY5" fmla="*/ 603849 h 603849"/>
                <a:gd name="connsiteX0" fmla="*/ 8491108 w 8491108"/>
                <a:gd name="connsiteY0" fmla="*/ 603849 h 603849"/>
                <a:gd name="connsiteX1" fmla="*/ 8192982 w 8491108"/>
                <a:gd name="connsiteY1" fmla="*/ 172528 h 603849"/>
                <a:gd name="connsiteX2" fmla="*/ 8305126 w 8491108"/>
                <a:gd name="connsiteY2" fmla="*/ 0 h 603849"/>
                <a:gd name="connsiteX3" fmla="*/ 0 w 8491108"/>
                <a:gd name="connsiteY3" fmla="*/ 8626 h 603849"/>
                <a:gd name="connsiteX4" fmla="*/ 237 w 8491108"/>
                <a:gd name="connsiteY4" fmla="*/ 603849 h 603849"/>
                <a:gd name="connsiteX5" fmla="*/ 8491108 w 8491108"/>
                <a:gd name="connsiteY5" fmla="*/ 603849 h 603849"/>
                <a:gd name="connsiteX0" fmla="*/ 8491108 w 8491108"/>
                <a:gd name="connsiteY0" fmla="*/ 595828 h 595828"/>
                <a:gd name="connsiteX1" fmla="*/ 8192982 w 8491108"/>
                <a:gd name="connsiteY1" fmla="*/ 164507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5828 h 595828"/>
                <a:gd name="connsiteX1" fmla="*/ 8335388 w 8491108"/>
                <a:gd name="connsiteY1" fmla="*/ 239370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7306 h 597306"/>
                <a:gd name="connsiteX1" fmla="*/ 8335388 w 8491108"/>
                <a:gd name="connsiteY1" fmla="*/ 240848 h 597306"/>
                <a:gd name="connsiteX2" fmla="*/ 8455442 w 8491108"/>
                <a:gd name="connsiteY2" fmla="*/ 1478 h 597306"/>
                <a:gd name="connsiteX3" fmla="*/ 0 w 8491108"/>
                <a:gd name="connsiteY3" fmla="*/ 0 h 597306"/>
                <a:gd name="connsiteX4" fmla="*/ 237 w 8491108"/>
                <a:gd name="connsiteY4" fmla="*/ 597306 h 597306"/>
                <a:gd name="connsiteX5" fmla="*/ 8491108 w 8491108"/>
                <a:gd name="connsiteY5" fmla="*/ 597306 h 597306"/>
                <a:gd name="connsiteX0" fmla="*/ 8490871 w 8490871"/>
                <a:gd name="connsiteY0" fmla="*/ 599334 h 599334"/>
                <a:gd name="connsiteX1" fmla="*/ 8335151 w 8490871"/>
                <a:gd name="connsiteY1" fmla="*/ 242876 h 599334"/>
                <a:gd name="connsiteX2" fmla="*/ 8455205 w 8490871"/>
                <a:gd name="connsiteY2" fmla="*/ 3506 h 599334"/>
                <a:gd name="connsiteX3" fmla="*/ 159745 w 8490871"/>
                <a:gd name="connsiteY3" fmla="*/ 0 h 599334"/>
                <a:gd name="connsiteX4" fmla="*/ 0 w 8490871"/>
                <a:gd name="connsiteY4" fmla="*/ 599334 h 599334"/>
                <a:gd name="connsiteX5" fmla="*/ 8490871 w 8490871"/>
                <a:gd name="connsiteY5" fmla="*/ 599334 h 599334"/>
                <a:gd name="connsiteX0" fmla="*/ 8331126 w 8331126"/>
                <a:gd name="connsiteY0" fmla="*/ 599334 h 599334"/>
                <a:gd name="connsiteX1" fmla="*/ 8175406 w 8331126"/>
                <a:gd name="connsiteY1" fmla="*/ 242876 h 599334"/>
                <a:gd name="connsiteX2" fmla="*/ 8295460 w 8331126"/>
                <a:gd name="connsiteY2" fmla="*/ 3506 h 599334"/>
                <a:gd name="connsiteX3" fmla="*/ 0 w 8331126"/>
                <a:gd name="connsiteY3" fmla="*/ 0 h 599334"/>
                <a:gd name="connsiteX4" fmla="*/ 12236 w 8331126"/>
                <a:gd name="connsiteY4" fmla="*/ 599334 h 599334"/>
                <a:gd name="connsiteX5" fmla="*/ 8331126 w 8331126"/>
                <a:gd name="connsiteY5" fmla="*/ 599334 h 599334"/>
                <a:gd name="connsiteX0" fmla="*/ 8331126 w 8331126"/>
                <a:gd name="connsiteY0" fmla="*/ 599334 h 599334"/>
                <a:gd name="connsiteX1" fmla="*/ 8175406 w 8331126"/>
                <a:gd name="connsiteY1" fmla="*/ 242876 h 599334"/>
                <a:gd name="connsiteX2" fmla="*/ 8295460 w 8331126"/>
                <a:gd name="connsiteY2" fmla="*/ 3506 h 599334"/>
                <a:gd name="connsiteX3" fmla="*/ 0 w 8331126"/>
                <a:gd name="connsiteY3" fmla="*/ 0 h 599334"/>
                <a:gd name="connsiteX4" fmla="*/ 2842 w 8331126"/>
                <a:gd name="connsiteY4" fmla="*/ 599334 h 599334"/>
                <a:gd name="connsiteX5" fmla="*/ 8331126 w 8331126"/>
                <a:gd name="connsiteY5" fmla="*/ 599334 h 599334"/>
                <a:gd name="connsiteX0" fmla="*/ 8328482 w 8328482"/>
                <a:gd name="connsiteY0" fmla="*/ 599334 h 599334"/>
                <a:gd name="connsiteX1" fmla="*/ 8172762 w 8328482"/>
                <a:gd name="connsiteY1" fmla="*/ 242876 h 599334"/>
                <a:gd name="connsiteX2" fmla="*/ 8292816 w 8328482"/>
                <a:gd name="connsiteY2" fmla="*/ 3506 h 599334"/>
                <a:gd name="connsiteX3" fmla="*/ 1114 w 8328482"/>
                <a:gd name="connsiteY3" fmla="*/ 0 h 599334"/>
                <a:gd name="connsiteX4" fmla="*/ 198 w 8328482"/>
                <a:gd name="connsiteY4" fmla="*/ 599334 h 599334"/>
                <a:gd name="connsiteX5" fmla="*/ 8328482 w 8328482"/>
                <a:gd name="connsiteY5" fmla="*/ 599334 h 599334"/>
                <a:gd name="connsiteX0" fmla="*/ 8329247 w 8329247"/>
                <a:gd name="connsiteY0" fmla="*/ 599334 h 599334"/>
                <a:gd name="connsiteX1" fmla="*/ 8173527 w 8329247"/>
                <a:gd name="connsiteY1" fmla="*/ 242876 h 599334"/>
                <a:gd name="connsiteX2" fmla="*/ 8293581 w 8329247"/>
                <a:gd name="connsiteY2" fmla="*/ 3506 h 599334"/>
                <a:gd name="connsiteX3" fmla="*/ 0 w 8329247"/>
                <a:gd name="connsiteY3" fmla="*/ 0 h 599334"/>
                <a:gd name="connsiteX4" fmla="*/ 963 w 8329247"/>
                <a:gd name="connsiteY4" fmla="*/ 599334 h 599334"/>
                <a:gd name="connsiteX5" fmla="*/ 8329247 w 8329247"/>
                <a:gd name="connsiteY5" fmla="*/ 599334 h 599334"/>
                <a:gd name="connsiteX0" fmla="*/ 8328325 w 8328325"/>
                <a:gd name="connsiteY0" fmla="*/ 599334 h 599334"/>
                <a:gd name="connsiteX1" fmla="*/ 8172605 w 8328325"/>
                <a:gd name="connsiteY1" fmla="*/ 242876 h 599334"/>
                <a:gd name="connsiteX2" fmla="*/ 8292659 w 8328325"/>
                <a:gd name="connsiteY2" fmla="*/ 3506 h 599334"/>
                <a:gd name="connsiteX3" fmla="*/ 14110 w 8328325"/>
                <a:gd name="connsiteY3" fmla="*/ 0 h 599334"/>
                <a:gd name="connsiteX4" fmla="*/ 41 w 8328325"/>
                <a:gd name="connsiteY4" fmla="*/ 599334 h 599334"/>
                <a:gd name="connsiteX5" fmla="*/ 8328325 w 8328325"/>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21630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2841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2841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30206 w 8330206"/>
                <a:gd name="connsiteY0" fmla="*/ 599334 h 599334"/>
                <a:gd name="connsiteX1" fmla="*/ 8174486 w 8330206"/>
                <a:gd name="connsiteY1" fmla="*/ 242876 h 599334"/>
                <a:gd name="connsiteX2" fmla="*/ 8294540 w 8330206"/>
                <a:gd name="connsiteY2" fmla="*/ 3506 h 599334"/>
                <a:gd name="connsiteX3" fmla="*/ 960 w 8330206"/>
                <a:gd name="connsiteY3" fmla="*/ 0 h 599334"/>
                <a:gd name="connsiteX4" fmla="*/ 43 w 8330206"/>
                <a:gd name="connsiteY4" fmla="*/ 599334 h 599334"/>
                <a:gd name="connsiteX5" fmla="*/ 8330206 w 8330206"/>
                <a:gd name="connsiteY5" fmla="*/ 599334 h 599334"/>
                <a:gd name="connsiteX0" fmla="*/ 8331125 w 8331125"/>
                <a:gd name="connsiteY0" fmla="*/ 599334 h 599334"/>
                <a:gd name="connsiteX1" fmla="*/ 8175405 w 8331125"/>
                <a:gd name="connsiteY1" fmla="*/ 242876 h 599334"/>
                <a:gd name="connsiteX2" fmla="*/ 8295459 w 8331125"/>
                <a:gd name="connsiteY2" fmla="*/ 3506 h 599334"/>
                <a:gd name="connsiteX3" fmla="*/ 0 w 8331125"/>
                <a:gd name="connsiteY3" fmla="*/ 0 h 599334"/>
                <a:gd name="connsiteX4" fmla="*/ 962 w 8331125"/>
                <a:gd name="connsiteY4" fmla="*/ 599334 h 599334"/>
                <a:gd name="connsiteX5" fmla="*/ 8331125 w 8331125"/>
                <a:gd name="connsiteY5" fmla="*/ 599334 h 599334"/>
                <a:gd name="connsiteX0" fmla="*/ 8330185 w 8330185"/>
                <a:gd name="connsiteY0" fmla="*/ 599334 h 599334"/>
                <a:gd name="connsiteX1" fmla="*/ 8174465 w 8330185"/>
                <a:gd name="connsiteY1" fmla="*/ 242876 h 599334"/>
                <a:gd name="connsiteX2" fmla="*/ 8294519 w 8330185"/>
                <a:gd name="connsiteY2" fmla="*/ 3506 h 599334"/>
                <a:gd name="connsiteX3" fmla="*/ 2818 w 8330185"/>
                <a:gd name="connsiteY3" fmla="*/ 0 h 599334"/>
                <a:gd name="connsiteX4" fmla="*/ 22 w 8330185"/>
                <a:gd name="connsiteY4" fmla="*/ 599334 h 599334"/>
                <a:gd name="connsiteX5" fmla="*/ 8330185 w 8330185"/>
                <a:gd name="connsiteY5" fmla="*/ 599334 h 599334"/>
                <a:gd name="connsiteX0" fmla="*/ 8328328 w 8328328"/>
                <a:gd name="connsiteY0" fmla="*/ 599334 h 599334"/>
                <a:gd name="connsiteX1" fmla="*/ 8172608 w 8328328"/>
                <a:gd name="connsiteY1" fmla="*/ 242876 h 599334"/>
                <a:gd name="connsiteX2" fmla="*/ 8292662 w 8328328"/>
                <a:gd name="connsiteY2" fmla="*/ 3506 h 599334"/>
                <a:gd name="connsiteX3" fmla="*/ 961 w 8328328"/>
                <a:gd name="connsiteY3" fmla="*/ 0 h 599334"/>
                <a:gd name="connsiteX4" fmla="*/ 44 w 8328328"/>
                <a:gd name="connsiteY4" fmla="*/ 599334 h 599334"/>
                <a:gd name="connsiteX5" fmla="*/ 8328328 w 8328328"/>
                <a:gd name="connsiteY5" fmla="*/ 599334 h 599334"/>
                <a:gd name="connsiteX0" fmla="*/ 8327367 w 8327367"/>
                <a:gd name="connsiteY0" fmla="*/ 599334 h 599334"/>
                <a:gd name="connsiteX1" fmla="*/ 8171647 w 8327367"/>
                <a:gd name="connsiteY1" fmla="*/ 242876 h 599334"/>
                <a:gd name="connsiteX2" fmla="*/ 8291701 w 8327367"/>
                <a:gd name="connsiteY2" fmla="*/ 3506 h 599334"/>
                <a:gd name="connsiteX3" fmla="*/ 0 w 8327367"/>
                <a:gd name="connsiteY3" fmla="*/ 0 h 599334"/>
                <a:gd name="connsiteX4" fmla="*/ 962 w 8327367"/>
                <a:gd name="connsiteY4" fmla="*/ 599334 h 599334"/>
                <a:gd name="connsiteX5" fmla="*/ 8327367 w 8327367"/>
                <a:gd name="connsiteY5" fmla="*/ 599334 h 599334"/>
                <a:gd name="connsiteX0" fmla="*/ 8328327 w 8328327"/>
                <a:gd name="connsiteY0" fmla="*/ 599334 h 599334"/>
                <a:gd name="connsiteX1" fmla="*/ 8172607 w 8328327"/>
                <a:gd name="connsiteY1" fmla="*/ 242876 h 599334"/>
                <a:gd name="connsiteX2" fmla="*/ 8292661 w 8328327"/>
                <a:gd name="connsiteY2" fmla="*/ 3506 h 599334"/>
                <a:gd name="connsiteX3" fmla="*/ 960 w 8328327"/>
                <a:gd name="connsiteY3" fmla="*/ 0 h 599334"/>
                <a:gd name="connsiteX4" fmla="*/ 43 w 8328327"/>
                <a:gd name="connsiteY4" fmla="*/ 599334 h 599334"/>
                <a:gd name="connsiteX5" fmla="*/ 8328327 w 8328327"/>
                <a:gd name="connsiteY5" fmla="*/ 599334 h 599334"/>
                <a:gd name="connsiteX0" fmla="*/ 8328285 w 8328285"/>
                <a:gd name="connsiteY0" fmla="*/ 599334 h 599334"/>
                <a:gd name="connsiteX1" fmla="*/ 8172565 w 8328285"/>
                <a:gd name="connsiteY1" fmla="*/ 242876 h 599334"/>
                <a:gd name="connsiteX2" fmla="*/ 8292619 w 8328285"/>
                <a:gd name="connsiteY2" fmla="*/ 3506 h 599334"/>
                <a:gd name="connsiteX3" fmla="*/ 341008 w 8328285"/>
                <a:gd name="connsiteY3" fmla="*/ 0 h 599334"/>
                <a:gd name="connsiteX4" fmla="*/ 1 w 8328285"/>
                <a:gd name="connsiteY4" fmla="*/ 599334 h 599334"/>
                <a:gd name="connsiteX5" fmla="*/ 8328285 w 8328285"/>
                <a:gd name="connsiteY5" fmla="*/ 599334 h 599334"/>
                <a:gd name="connsiteX0" fmla="*/ 7990094 w 7990094"/>
                <a:gd name="connsiteY0" fmla="*/ 599334 h 601239"/>
                <a:gd name="connsiteX1" fmla="*/ 7834374 w 7990094"/>
                <a:gd name="connsiteY1" fmla="*/ 242876 h 601239"/>
                <a:gd name="connsiteX2" fmla="*/ 7954428 w 7990094"/>
                <a:gd name="connsiteY2" fmla="*/ 3506 h 601239"/>
                <a:gd name="connsiteX3" fmla="*/ 2817 w 7990094"/>
                <a:gd name="connsiteY3" fmla="*/ 0 h 601239"/>
                <a:gd name="connsiteX4" fmla="*/ 22 w 7990094"/>
                <a:gd name="connsiteY4" fmla="*/ 601239 h 601239"/>
                <a:gd name="connsiteX5" fmla="*/ 7990094 w 7990094"/>
                <a:gd name="connsiteY5" fmla="*/ 599334 h 601239"/>
                <a:gd name="connsiteX0" fmla="*/ 8328284 w 8328284"/>
                <a:gd name="connsiteY0" fmla="*/ 599334 h 599334"/>
                <a:gd name="connsiteX1" fmla="*/ 8172564 w 8328284"/>
                <a:gd name="connsiteY1" fmla="*/ 242876 h 599334"/>
                <a:gd name="connsiteX2" fmla="*/ 8292618 w 8328284"/>
                <a:gd name="connsiteY2" fmla="*/ 3506 h 599334"/>
                <a:gd name="connsiteX3" fmla="*/ 341007 w 8328284"/>
                <a:gd name="connsiteY3" fmla="*/ 0 h 599334"/>
                <a:gd name="connsiteX4" fmla="*/ 0 w 8328284"/>
                <a:gd name="connsiteY4" fmla="*/ 597429 h 599334"/>
                <a:gd name="connsiteX5" fmla="*/ 8328284 w 8328284"/>
                <a:gd name="connsiteY5" fmla="*/ 599334 h 599334"/>
                <a:gd name="connsiteX0" fmla="*/ 8328284 w 8328284"/>
                <a:gd name="connsiteY0" fmla="*/ 599334 h 599334"/>
                <a:gd name="connsiteX1" fmla="*/ 8172564 w 8328284"/>
                <a:gd name="connsiteY1" fmla="*/ 242876 h 599334"/>
                <a:gd name="connsiteX2" fmla="*/ 8292618 w 8328284"/>
                <a:gd name="connsiteY2" fmla="*/ 3506 h 599334"/>
                <a:gd name="connsiteX3" fmla="*/ 341007 w 8328284"/>
                <a:gd name="connsiteY3" fmla="*/ 0 h 599334"/>
                <a:gd name="connsiteX4" fmla="*/ 0 w 8328284"/>
                <a:gd name="connsiteY4" fmla="*/ 599334 h 599334"/>
                <a:gd name="connsiteX5" fmla="*/ 8328284 w 8328284"/>
                <a:gd name="connsiteY5" fmla="*/ 599334 h 599334"/>
                <a:gd name="connsiteX0" fmla="*/ 8329247 w 8329247"/>
                <a:gd name="connsiteY0" fmla="*/ 599334 h 599334"/>
                <a:gd name="connsiteX1" fmla="*/ 8173527 w 8329247"/>
                <a:gd name="connsiteY1" fmla="*/ 242876 h 599334"/>
                <a:gd name="connsiteX2" fmla="*/ 8293581 w 8329247"/>
                <a:gd name="connsiteY2" fmla="*/ 3506 h 599334"/>
                <a:gd name="connsiteX3" fmla="*/ 0 w 8329247"/>
                <a:gd name="connsiteY3" fmla="*/ 0 h 599334"/>
                <a:gd name="connsiteX4" fmla="*/ 963 w 8329247"/>
                <a:gd name="connsiteY4" fmla="*/ 599334 h 599334"/>
                <a:gd name="connsiteX5" fmla="*/ 8329247 w 8329247"/>
                <a:gd name="connsiteY5" fmla="*/ 599334 h 59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29247" h="599334">
                  <a:moveTo>
                    <a:pt x="8329247" y="599334"/>
                  </a:moveTo>
                  <a:lnTo>
                    <a:pt x="8173527" y="242876"/>
                  </a:lnTo>
                  <a:lnTo>
                    <a:pt x="8293581" y="3506"/>
                  </a:lnTo>
                  <a:lnTo>
                    <a:pt x="0" y="0"/>
                  </a:lnTo>
                  <a:lnTo>
                    <a:pt x="963" y="599334"/>
                  </a:lnTo>
                  <a:lnTo>
                    <a:pt x="8329247" y="599334"/>
                  </a:lnTo>
                  <a:close/>
                </a:path>
              </a:pathLst>
            </a:cu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noProof="0" dirty="0"/>
            </a:p>
          </p:txBody>
        </p:sp>
        <p:sp>
          <p:nvSpPr>
            <p:cNvPr id="22" name="Volný tvar 21"/>
            <p:cNvSpPr/>
            <p:nvPr userDrawn="1"/>
          </p:nvSpPr>
          <p:spPr>
            <a:xfrm>
              <a:off x="1907202" y="7204157"/>
              <a:ext cx="6537502" cy="357106"/>
            </a:xfrm>
            <a:custGeom>
              <a:avLst/>
              <a:gdLst>
                <a:gd name="connsiteX0" fmla="*/ 8186468 w 8186468"/>
                <a:gd name="connsiteY0" fmla="*/ 603849 h 603849"/>
                <a:gd name="connsiteX1" fmla="*/ 7962181 w 8186468"/>
                <a:gd name="connsiteY1" fmla="*/ 172528 h 603849"/>
                <a:gd name="connsiteX2" fmla="*/ 8074325 w 8186468"/>
                <a:gd name="connsiteY2" fmla="*/ 0 h 603849"/>
                <a:gd name="connsiteX3" fmla="*/ 112143 w 8186468"/>
                <a:gd name="connsiteY3" fmla="*/ 8626 h 603849"/>
                <a:gd name="connsiteX4" fmla="*/ 0 w 8186468"/>
                <a:gd name="connsiteY4" fmla="*/ 138023 h 603849"/>
                <a:gd name="connsiteX5" fmla="*/ 241540 w 8186468"/>
                <a:gd name="connsiteY5" fmla="*/ 603849 h 603849"/>
                <a:gd name="connsiteX6" fmla="*/ 8186468 w 8186468"/>
                <a:gd name="connsiteY6" fmla="*/ 603849 h 603849"/>
                <a:gd name="connsiteX0" fmla="*/ 8074325 w 8074325"/>
                <a:gd name="connsiteY0" fmla="*/ 603849 h 603849"/>
                <a:gd name="connsiteX1" fmla="*/ 7850038 w 8074325"/>
                <a:gd name="connsiteY1" fmla="*/ 172528 h 603849"/>
                <a:gd name="connsiteX2" fmla="*/ 7962182 w 8074325"/>
                <a:gd name="connsiteY2" fmla="*/ 0 h 603849"/>
                <a:gd name="connsiteX3" fmla="*/ 0 w 8074325"/>
                <a:gd name="connsiteY3" fmla="*/ 8626 h 603849"/>
                <a:gd name="connsiteX4" fmla="*/ 129397 w 8074325"/>
                <a:gd name="connsiteY4" fmla="*/ 603849 h 603849"/>
                <a:gd name="connsiteX5" fmla="*/ 8074325 w 8074325"/>
                <a:gd name="connsiteY5" fmla="*/ 603849 h 603849"/>
                <a:gd name="connsiteX0" fmla="*/ 8417032 w 8417032"/>
                <a:gd name="connsiteY0" fmla="*/ 603849 h 603849"/>
                <a:gd name="connsiteX1" fmla="*/ 8192745 w 8417032"/>
                <a:gd name="connsiteY1" fmla="*/ 172528 h 603849"/>
                <a:gd name="connsiteX2" fmla="*/ 8304889 w 8417032"/>
                <a:gd name="connsiteY2" fmla="*/ 0 h 603849"/>
                <a:gd name="connsiteX3" fmla="*/ 342707 w 8417032"/>
                <a:gd name="connsiteY3" fmla="*/ 8626 h 603849"/>
                <a:gd name="connsiteX4" fmla="*/ 0 w 8417032"/>
                <a:gd name="connsiteY4" fmla="*/ 601591 h 603849"/>
                <a:gd name="connsiteX5" fmla="*/ 8417032 w 8417032"/>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1591 h 603849"/>
                <a:gd name="connsiteX5" fmla="*/ 8417269 w 8417269"/>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3849 h 603849"/>
                <a:gd name="connsiteX5" fmla="*/ 8417269 w 8417269"/>
                <a:gd name="connsiteY5" fmla="*/ 603849 h 603849"/>
                <a:gd name="connsiteX0" fmla="*/ 8491108 w 8491108"/>
                <a:gd name="connsiteY0" fmla="*/ 603849 h 603849"/>
                <a:gd name="connsiteX1" fmla="*/ 8192982 w 8491108"/>
                <a:gd name="connsiteY1" fmla="*/ 172528 h 603849"/>
                <a:gd name="connsiteX2" fmla="*/ 8305126 w 8491108"/>
                <a:gd name="connsiteY2" fmla="*/ 0 h 603849"/>
                <a:gd name="connsiteX3" fmla="*/ 0 w 8491108"/>
                <a:gd name="connsiteY3" fmla="*/ 8626 h 603849"/>
                <a:gd name="connsiteX4" fmla="*/ 237 w 8491108"/>
                <a:gd name="connsiteY4" fmla="*/ 603849 h 603849"/>
                <a:gd name="connsiteX5" fmla="*/ 8491108 w 8491108"/>
                <a:gd name="connsiteY5" fmla="*/ 603849 h 603849"/>
                <a:gd name="connsiteX0" fmla="*/ 8491108 w 8491108"/>
                <a:gd name="connsiteY0" fmla="*/ 595828 h 595828"/>
                <a:gd name="connsiteX1" fmla="*/ 8192982 w 8491108"/>
                <a:gd name="connsiteY1" fmla="*/ 164507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5828 h 595828"/>
                <a:gd name="connsiteX1" fmla="*/ 8335388 w 8491108"/>
                <a:gd name="connsiteY1" fmla="*/ 239370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7306 h 597306"/>
                <a:gd name="connsiteX1" fmla="*/ 8335388 w 8491108"/>
                <a:gd name="connsiteY1" fmla="*/ 240848 h 597306"/>
                <a:gd name="connsiteX2" fmla="*/ 8455442 w 8491108"/>
                <a:gd name="connsiteY2" fmla="*/ 1478 h 597306"/>
                <a:gd name="connsiteX3" fmla="*/ 0 w 8491108"/>
                <a:gd name="connsiteY3" fmla="*/ 0 h 597306"/>
                <a:gd name="connsiteX4" fmla="*/ 237 w 8491108"/>
                <a:gd name="connsiteY4" fmla="*/ 597306 h 597306"/>
                <a:gd name="connsiteX5" fmla="*/ 8491108 w 8491108"/>
                <a:gd name="connsiteY5" fmla="*/ 597306 h 597306"/>
                <a:gd name="connsiteX0" fmla="*/ 8491108 w 8491108"/>
                <a:gd name="connsiteY0" fmla="*/ 597306 h 597306"/>
                <a:gd name="connsiteX1" fmla="*/ 8335388 w 8491108"/>
                <a:gd name="connsiteY1" fmla="*/ 240848 h 597306"/>
                <a:gd name="connsiteX2" fmla="*/ 2033595 w 8491108"/>
                <a:gd name="connsiteY2" fmla="*/ 594144 h 597306"/>
                <a:gd name="connsiteX3" fmla="*/ 0 w 8491108"/>
                <a:gd name="connsiteY3" fmla="*/ 0 h 597306"/>
                <a:gd name="connsiteX4" fmla="*/ 237 w 8491108"/>
                <a:gd name="connsiteY4" fmla="*/ 597306 h 597306"/>
                <a:gd name="connsiteX5" fmla="*/ 8491108 w 8491108"/>
                <a:gd name="connsiteY5" fmla="*/ 597306 h 597306"/>
                <a:gd name="connsiteX0" fmla="*/ 8490871 w 8490871"/>
                <a:gd name="connsiteY0" fmla="*/ 356458 h 356458"/>
                <a:gd name="connsiteX1" fmla="*/ 8335151 w 8490871"/>
                <a:gd name="connsiteY1" fmla="*/ 0 h 356458"/>
                <a:gd name="connsiteX2" fmla="*/ 2033358 w 8490871"/>
                <a:gd name="connsiteY2" fmla="*/ 353296 h 356458"/>
                <a:gd name="connsiteX3" fmla="*/ 0 w 8490871"/>
                <a:gd name="connsiteY3" fmla="*/ 356458 h 356458"/>
                <a:gd name="connsiteX4" fmla="*/ 8490871 w 8490871"/>
                <a:gd name="connsiteY4" fmla="*/ 356458 h 356458"/>
                <a:gd name="connsiteX0" fmla="*/ 6457513 w 6457513"/>
                <a:gd name="connsiteY0" fmla="*/ 356458 h 356458"/>
                <a:gd name="connsiteX1" fmla="*/ 6301793 w 6457513"/>
                <a:gd name="connsiteY1" fmla="*/ 0 h 356458"/>
                <a:gd name="connsiteX2" fmla="*/ 0 w 6457513"/>
                <a:gd name="connsiteY2" fmla="*/ 353296 h 356458"/>
                <a:gd name="connsiteX3" fmla="*/ 6457513 w 6457513"/>
                <a:gd name="connsiteY3" fmla="*/ 356458 h 356458"/>
                <a:gd name="connsiteX0" fmla="*/ 6448118 w 6448118"/>
                <a:gd name="connsiteY0" fmla="*/ 356458 h 357106"/>
                <a:gd name="connsiteX1" fmla="*/ 6292398 w 6448118"/>
                <a:gd name="connsiteY1" fmla="*/ 0 h 357106"/>
                <a:gd name="connsiteX2" fmla="*/ 0 w 6448118"/>
                <a:gd name="connsiteY2" fmla="*/ 357106 h 357106"/>
                <a:gd name="connsiteX3" fmla="*/ 6448118 w 6448118"/>
                <a:gd name="connsiteY3" fmla="*/ 356458 h 357106"/>
              </a:gdLst>
              <a:ahLst/>
              <a:cxnLst>
                <a:cxn ang="0">
                  <a:pos x="connsiteX0" y="connsiteY0"/>
                </a:cxn>
                <a:cxn ang="0">
                  <a:pos x="connsiteX1" y="connsiteY1"/>
                </a:cxn>
                <a:cxn ang="0">
                  <a:pos x="connsiteX2" y="connsiteY2"/>
                </a:cxn>
                <a:cxn ang="0">
                  <a:pos x="connsiteX3" y="connsiteY3"/>
                </a:cxn>
              </a:cxnLst>
              <a:rect l="l" t="t" r="r" b="b"/>
              <a:pathLst>
                <a:path w="6448118" h="357106">
                  <a:moveTo>
                    <a:pt x="6448118" y="356458"/>
                  </a:moveTo>
                  <a:lnTo>
                    <a:pt x="6292398" y="0"/>
                  </a:lnTo>
                  <a:lnTo>
                    <a:pt x="0" y="357106"/>
                  </a:lnTo>
                  <a:lnTo>
                    <a:pt x="6448118" y="356458"/>
                  </a:lnTo>
                  <a:close/>
                </a:path>
              </a:pathLst>
            </a:custGeom>
            <a:solidFill>
              <a:srgbClr val="B6B6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noProof="0" dirty="0"/>
            </a:p>
          </p:txBody>
        </p:sp>
        <p:sp>
          <p:nvSpPr>
            <p:cNvPr id="23" name="Volný tvar 22"/>
            <p:cNvSpPr/>
            <p:nvPr userDrawn="1"/>
          </p:nvSpPr>
          <p:spPr>
            <a:xfrm>
              <a:off x="3635636" y="6964787"/>
              <a:ext cx="4772907" cy="239370"/>
            </a:xfrm>
            <a:custGeom>
              <a:avLst/>
              <a:gdLst>
                <a:gd name="connsiteX0" fmla="*/ 8186468 w 8186468"/>
                <a:gd name="connsiteY0" fmla="*/ 603849 h 603849"/>
                <a:gd name="connsiteX1" fmla="*/ 7962181 w 8186468"/>
                <a:gd name="connsiteY1" fmla="*/ 172528 h 603849"/>
                <a:gd name="connsiteX2" fmla="*/ 8074325 w 8186468"/>
                <a:gd name="connsiteY2" fmla="*/ 0 h 603849"/>
                <a:gd name="connsiteX3" fmla="*/ 112143 w 8186468"/>
                <a:gd name="connsiteY3" fmla="*/ 8626 h 603849"/>
                <a:gd name="connsiteX4" fmla="*/ 0 w 8186468"/>
                <a:gd name="connsiteY4" fmla="*/ 138023 h 603849"/>
                <a:gd name="connsiteX5" fmla="*/ 241540 w 8186468"/>
                <a:gd name="connsiteY5" fmla="*/ 603849 h 603849"/>
                <a:gd name="connsiteX6" fmla="*/ 8186468 w 8186468"/>
                <a:gd name="connsiteY6" fmla="*/ 603849 h 603849"/>
                <a:gd name="connsiteX0" fmla="*/ 8074325 w 8074325"/>
                <a:gd name="connsiteY0" fmla="*/ 603849 h 603849"/>
                <a:gd name="connsiteX1" fmla="*/ 7850038 w 8074325"/>
                <a:gd name="connsiteY1" fmla="*/ 172528 h 603849"/>
                <a:gd name="connsiteX2" fmla="*/ 7962182 w 8074325"/>
                <a:gd name="connsiteY2" fmla="*/ 0 h 603849"/>
                <a:gd name="connsiteX3" fmla="*/ 0 w 8074325"/>
                <a:gd name="connsiteY3" fmla="*/ 8626 h 603849"/>
                <a:gd name="connsiteX4" fmla="*/ 129397 w 8074325"/>
                <a:gd name="connsiteY4" fmla="*/ 603849 h 603849"/>
                <a:gd name="connsiteX5" fmla="*/ 8074325 w 8074325"/>
                <a:gd name="connsiteY5" fmla="*/ 603849 h 603849"/>
                <a:gd name="connsiteX0" fmla="*/ 8417032 w 8417032"/>
                <a:gd name="connsiteY0" fmla="*/ 603849 h 603849"/>
                <a:gd name="connsiteX1" fmla="*/ 8192745 w 8417032"/>
                <a:gd name="connsiteY1" fmla="*/ 172528 h 603849"/>
                <a:gd name="connsiteX2" fmla="*/ 8304889 w 8417032"/>
                <a:gd name="connsiteY2" fmla="*/ 0 h 603849"/>
                <a:gd name="connsiteX3" fmla="*/ 342707 w 8417032"/>
                <a:gd name="connsiteY3" fmla="*/ 8626 h 603849"/>
                <a:gd name="connsiteX4" fmla="*/ 0 w 8417032"/>
                <a:gd name="connsiteY4" fmla="*/ 601591 h 603849"/>
                <a:gd name="connsiteX5" fmla="*/ 8417032 w 8417032"/>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1591 h 603849"/>
                <a:gd name="connsiteX5" fmla="*/ 8417269 w 8417269"/>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3849 h 603849"/>
                <a:gd name="connsiteX5" fmla="*/ 8417269 w 8417269"/>
                <a:gd name="connsiteY5" fmla="*/ 603849 h 603849"/>
                <a:gd name="connsiteX0" fmla="*/ 8491108 w 8491108"/>
                <a:gd name="connsiteY0" fmla="*/ 603849 h 603849"/>
                <a:gd name="connsiteX1" fmla="*/ 8192982 w 8491108"/>
                <a:gd name="connsiteY1" fmla="*/ 172528 h 603849"/>
                <a:gd name="connsiteX2" fmla="*/ 8305126 w 8491108"/>
                <a:gd name="connsiteY2" fmla="*/ 0 h 603849"/>
                <a:gd name="connsiteX3" fmla="*/ 0 w 8491108"/>
                <a:gd name="connsiteY3" fmla="*/ 8626 h 603849"/>
                <a:gd name="connsiteX4" fmla="*/ 237 w 8491108"/>
                <a:gd name="connsiteY4" fmla="*/ 603849 h 603849"/>
                <a:gd name="connsiteX5" fmla="*/ 8491108 w 8491108"/>
                <a:gd name="connsiteY5" fmla="*/ 603849 h 603849"/>
                <a:gd name="connsiteX0" fmla="*/ 8491108 w 8491108"/>
                <a:gd name="connsiteY0" fmla="*/ 595828 h 595828"/>
                <a:gd name="connsiteX1" fmla="*/ 8192982 w 8491108"/>
                <a:gd name="connsiteY1" fmla="*/ 164507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5828 h 595828"/>
                <a:gd name="connsiteX1" fmla="*/ 8335388 w 8491108"/>
                <a:gd name="connsiteY1" fmla="*/ 239370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7306 h 597306"/>
                <a:gd name="connsiteX1" fmla="*/ 8335388 w 8491108"/>
                <a:gd name="connsiteY1" fmla="*/ 240848 h 597306"/>
                <a:gd name="connsiteX2" fmla="*/ 8455442 w 8491108"/>
                <a:gd name="connsiteY2" fmla="*/ 1478 h 597306"/>
                <a:gd name="connsiteX3" fmla="*/ 0 w 8491108"/>
                <a:gd name="connsiteY3" fmla="*/ 0 h 597306"/>
                <a:gd name="connsiteX4" fmla="*/ 237 w 8491108"/>
                <a:gd name="connsiteY4" fmla="*/ 597306 h 597306"/>
                <a:gd name="connsiteX5" fmla="*/ 8491108 w 8491108"/>
                <a:gd name="connsiteY5" fmla="*/ 597306 h 597306"/>
                <a:gd name="connsiteX0" fmla="*/ 3747792 w 8455442"/>
                <a:gd name="connsiteY0" fmla="*/ 0 h 601133"/>
                <a:gd name="connsiteX1" fmla="*/ 8335388 w 8455442"/>
                <a:gd name="connsiteY1" fmla="*/ 244675 h 601133"/>
                <a:gd name="connsiteX2" fmla="*/ 8455442 w 8455442"/>
                <a:gd name="connsiteY2" fmla="*/ 5305 h 601133"/>
                <a:gd name="connsiteX3" fmla="*/ 0 w 8455442"/>
                <a:gd name="connsiteY3" fmla="*/ 3827 h 601133"/>
                <a:gd name="connsiteX4" fmla="*/ 237 w 8455442"/>
                <a:gd name="connsiteY4" fmla="*/ 601133 h 601133"/>
                <a:gd name="connsiteX5" fmla="*/ 3747792 w 8455442"/>
                <a:gd name="connsiteY5" fmla="*/ 0 h 601133"/>
                <a:gd name="connsiteX0" fmla="*/ 3747792 w 8455442"/>
                <a:gd name="connsiteY0" fmla="*/ 0 h 244675"/>
                <a:gd name="connsiteX1" fmla="*/ 8335388 w 8455442"/>
                <a:gd name="connsiteY1" fmla="*/ 244675 h 244675"/>
                <a:gd name="connsiteX2" fmla="*/ 8455442 w 8455442"/>
                <a:gd name="connsiteY2" fmla="*/ 5305 h 244675"/>
                <a:gd name="connsiteX3" fmla="*/ 0 w 8455442"/>
                <a:gd name="connsiteY3" fmla="*/ 3827 h 244675"/>
                <a:gd name="connsiteX4" fmla="*/ 3747792 w 8455442"/>
                <a:gd name="connsiteY4" fmla="*/ 0 h 244675"/>
                <a:gd name="connsiteX0" fmla="*/ 0 w 4707650"/>
                <a:gd name="connsiteY0" fmla="*/ 0 h 244675"/>
                <a:gd name="connsiteX1" fmla="*/ 4587596 w 4707650"/>
                <a:gd name="connsiteY1" fmla="*/ 244675 h 244675"/>
                <a:gd name="connsiteX2" fmla="*/ 4707650 w 4707650"/>
                <a:gd name="connsiteY2" fmla="*/ 5305 h 244675"/>
                <a:gd name="connsiteX3" fmla="*/ 0 w 4707650"/>
                <a:gd name="connsiteY3" fmla="*/ 0 h 244675"/>
                <a:gd name="connsiteX0" fmla="*/ 0 w 4707650"/>
                <a:gd name="connsiteY0" fmla="*/ 410 h 239370"/>
                <a:gd name="connsiteX1" fmla="*/ 4587596 w 4707650"/>
                <a:gd name="connsiteY1" fmla="*/ 239370 h 239370"/>
                <a:gd name="connsiteX2" fmla="*/ 4707650 w 4707650"/>
                <a:gd name="connsiteY2" fmla="*/ 0 h 239370"/>
                <a:gd name="connsiteX3" fmla="*/ 0 w 4707650"/>
                <a:gd name="connsiteY3" fmla="*/ 410 h 239370"/>
              </a:gdLst>
              <a:ahLst/>
              <a:cxnLst>
                <a:cxn ang="0">
                  <a:pos x="connsiteX0" y="connsiteY0"/>
                </a:cxn>
                <a:cxn ang="0">
                  <a:pos x="connsiteX1" y="connsiteY1"/>
                </a:cxn>
                <a:cxn ang="0">
                  <a:pos x="connsiteX2" y="connsiteY2"/>
                </a:cxn>
                <a:cxn ang="0">
                  <a:pos x="connsiteX3" y="connsiteY3"/>
                </a:cxn>
              </a:cxnLst>
              <a:rect l="l" t="t" r="r" b="b"/>
              <a:pathLst>
                <a:path w="4707650" h="239370">
                  <a:moveTo>
                    <a:pt x="0" y="410"/>
                  </a:moveTo>
                  <a:lnTo>
                    <a:pt x="4587596" y="239370"/>
                  </a:lnTo>
                  <a:lnTo>
                    <a:pt x="4707650" y="0"/>
                  </a:lnTo>
                  <a:lnTo>
                    <a:pt x="0" y="410"/>
                  </a:lnTo>
                  <a:close/>
                </a:path>
              </a:pathLst>
            </a:custGeom>
            <a:solidFill>
              <a:srgbClr val="C3C3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noProof="0" dirty="0"/>
            </a:p>
          </p:txBody>
        </p:sp>
        <p:cxnSp>
          <p:nvCxnSpPr>
            <p:cNvPr id="24" name="Přímá spojnice 23"/>
            <p:cNvCxnSpPr/>
            <p:nvPr userDrawn="1"/>
          </p:nvCxnSpPr>
          <p:spPr>
            <a:xfrm flipH="1" flipV="1">
              <a:off x="8389400" y="6966692"/>
              <a:ext cx="2304000" cy="402"/>
            </a:xfrm>
            <a:prstGeom prst="line">
              <a:avLst/>
            </a:prstGeom>
            <a:ln w="6350">
              <a:solidFill>
                <a:srgbClr val="C3C3C3"/>
              </a:solidFill>
            </a:ln>
          </p:spPr>
          <p:style>
            <a:lnRef idx="1">
              <a:schemeClr val="accent1"/>
            </a:lnRef>
            <a:fillRef idx="0">
              <a:schemeClr val="accent1"/>
            </a:fillRef>
            <a:effectRef idx="0">
              <a:schemeClr val="accent1"/>
            </a:effectRef>
            <a:fontRef idx="minor">
              <a:schemeClr val="tx1"/>
            </a:fontRef>
          </p:style>
        </p:cxnSp>
      </p:grpSp>
      <p:graphicFrame>
        <p:nvGraphicFramePr>
          <p:cNvPr id="6" name="Objekt 5" hidden="1"/>
          <p:cNvGraphicFramePr>
            <a:graphicFrameLocks noChangeAspect="1"/>
          </p:cNvGraphicFramePr>
          <p:nvPr userDrawn="1">
            <p:custDataLst>
              <p:tags r:id="rId12"/>
            </p:custDataLst>
            <p:extLst>
              <p:ext uri="{D42A27DB-BD31-4B8C-83A1-F6EECF244321}">
                <p14:modId xmlns:p14="http://schemas.microsoft.com/office/powerpoint/2010/main" val="164581428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4" imgW="399" imgH="398" progId="TCLayout.ActiveDocument.1">
                  <p:embed/>
                </p:oleObj>
              </mc:Choice>
              <mc:Fallback>
                <p:oleObj name="think-cell Slide" r:id="rId14" imgW="399" imgH="398" progId="TCLayout.ActiveDocument.1">
                  <p:embed/>
                  <p:pic>
                    <p:nvPicPr>
                      <p:cNvPr id="6" name="Objekt 5" hidden="1"/>
                      <p:cNvPicPr/>
                      <p:nvPr/>
                    </p:nvPicPr>
                    <p:blipFill>
                      <a:blip r:embed="rId15"/>
                      <a:stretch>
                        <a:fillRect/>
                      </a:stretch>
                    </p:blipFill>
                    <p:spPr>
                      <a:xfrm>
                        <a:off x="1589" y="1589"/>
                        <a:ext cx="1587" cy="1587"/>
                      </a:xfrm>
                      <a:prstGeom prst="rect">
                        <a:avLst/>
                      </a:prstGeom>
                    </p:spPr>
                  </p:pic>
                </p:oleObj>
              </mc:Fallback>
            </mc:AlternateContent>
          </a:graphicData>
        </a:graphic>
      </p:graphicFrame>
      <p:sp>
        <p:nvSpPr>
          <p:cNvPr id="3" name="Zástupný symbol pro text 2"/>
          <p:cNvSpPr>
            <a:spLocks noGrp="1"/>
          </p:cNvSpPr>
          <p:nvPr>
            <p:ph type="body" idx="1"/>
          </p:nvPr>
        </p:nvSpPr>
        <p:spPr>
          <a:xfrm>
            <a:off x="342850" y="1439562"/>
            <a:ext cx="10006115" cy="5183685"/>
          </a:xfrm>
          <a:prstGeom prst="rect">
            <a:avLst/>
          </a:prstGeom>
        </p:spPr>
        <p:txBody>
          <a:bodyPr vert="horz" lIns="0" tIns="0" rIns="0" bIns="0" rtlCol="0">
            <a:normAutofit/>
          </a:body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5" name="Zástupný symbol pro zápatí 4"/>
          <p:cNvSpPr>
            <a:spLocks noGrp="1"/>
          </p:cNvSpPr>
          <p:nvPr>
            <p:ph type="ftr" sz="quarter" idx="3"/>
          </p:nvPr>
        </p:nvSpPr>
        <p:spPr>
          <a:xfrm>
            <a:off x="719894" y="7162496"/>
            <a:ext cx="6173596" cy="179962"/>
          </a:xfrm>
          <a:prstGeom prst="rect">
            <a:avLst/>
          </a:prstGeom>
        </p:spPr>
        <p:txBody>
          <a:bodyPr vert="horz" lIns="0" tIns="0" rIns="0" bIns="0" rtlCol="0" anchor="b" anchorCtr="0"/>
          <a:lstStyle>
            <a:lvl1pPr algn="l">
              <a:defRPr sz="700">
                <a:solidFill>
                  <a:schemeClr val="tx1"/>
                </a:solidFill>
                <a:latin typeface="SKODA Next" panose="020B0504020603020204" pitchFamily="34" charset="0"/>
                <a:ea typeface="Verdana" pitchFamily="34" charset="0"/>
                <a:cs typeface="Verdana" pitchFamily="34" charset="0"/>
              </a:defRPr>
            </a:lvl1pPr>
          </a:lstStyle>
          <a:p>
            <a:endParaRPr lang="cs-CZ" dirty="0"/>
          </a:p>
        </p:txBody>
      </p:sp>
      <p:sp>
        <p:nvSpPr>
          <p:cNvPr id="7" name="Zástupný symbol pro číslo snímku 6"/>
          <p:cNvSpPr>
            <a:spLocks noGrp="1"/>
          </p:cNvSpPr>
          <p:nvPr>
            <p:ph type="sldNum" sz="quarter" idx="4"/>
          </p:nvPr>
        </p:nvSpPr>
        <p:spPr>
          <a:xfrm>
            <a:off x="342849" y="7162496"/>
            <a:ext cx="269960" cy="179962"/>
          </a:xfrm>
          <a:prstGeom prst="rect">
            <a:avLst/>
          </a:prstGeom>
        </p:spPr>
        <p:txBody>
          <a:bodyPr vert="horz" lIns="0" tIns="0" rIns="0" bIns="0" rtlCol="0" anchor="b" anchorCtr="0"/>
          <a:lstStyle>
            <a:lvl1pPr algn="l">
              <a:defRPr sz="700">
                <a:solidFill>
                  <a:schemeClr val="tx1"/>
                </a:solidFill>
                <a:latin typeface="SKODA Next" panose="020B0504020603020204" pitchFamily="34" charset="0"/>
                <a:ea typeface="Verdana" pitchFamily="34" charset="0"/>
                <a:cs typeface="Verdana" pitchFamily="34" charset="0"/>
              </a:defRPr>
            </a:lvl1pPr>
          </a:lstStyle>
          <a:p>
            <a:fld id="{1E956721-BB38-4972-8ACD-5A2C9377E3B4}" type="slidenum">
              <a:rPr lang="cs-CZ" smtClean="0"/>
              <a:pPr/>
              <a:t>‹#›</a:t>
            </a:fld>
            <a:endParaRPr lang="cs-CZ" dirty="0"/>
          </a:p>
        </p:txBody>
      </p:sp>
      <p:sp>
        <p:nvSpPr>
          <p:cNvPr id="2" name="Zástupný symbol pro nadpis 1"/>
          <p:cNvSpPr>
            <a:spLocks noGrp="1"/>
          </p:cNvSpPr>
          <p:nvPr>
            <p:ph type="title"/>
          </p:nvPr>
        </p:nvSpPr>
        <p:spPr>
          <a:xfrm>
            <a:off x="342850" y="360287"/>
            <a:ext cx="10006115" cy="431909"/>
          </a:xfrm>
          <a:prstGeom prst="rect">
            <a:avLst/>
          </a:prstGeom>
        </p:spPr>
        <p:txBody>
          <a:bodyPr vert="horz" lIns="0" tIns="0" rIns="0" bIns="0" rtlCol="0" anchor="t" anchorCtr="0">
            <a:noAutofit/>
          </a:bodyPr>
          <a:lstStyle/>
          <a:p>
            <a:r>
              <a:rPr lang="cs-CZ" noProof="0" dirty="0"/>
              <a:t>Nadpis (shrnutí stránky)</a:t>
            </a:r>
          </a:p>
        </p:txBody>
      </p:sp>
      <p:sp>
        <p:nvSpPr>
          <p:cNvPr id="14" name="TextovéPole 13"/>
          <p:cNvSpPr txBox="1"/>
          <p:nvPr userDrawn="1"/>
        </p:nvSpPr>
        <p:spPr>
          <a:xfrm>
            <a:off x="7560000" y="7354800"/>
            <a:ext cx="720000" cy="108000"/>
          </a:xfrm>
          <a:prstGeom prst="rect">
            <a:avLst/>
          </a:prstGeom>
          <a:noFill/>
        </p:spPr>
        <p:txBody>
          <a:bodyPr wrap="square" lIns="0" tIns="0" rIns="0" bIns="0" rtlCol="0" anchor="b" anchorCtr="0">
            <a:normAutofit/>
          </a:bodyPr>
          <a:lstStyle/>
          <a:p>
            <a:pPr algn="r"/>
            <a:r>
              <a:rPr lang="en-GB" sz="700" noProof="0" dirty="0">
                <a:latin typeface="SKODA Next" panose="020B0504020603020204" pitchFamily="34" charset="0"/>
                <a:cs typeface="Arial" panose="020B0604020202020204" pitchFamily="34" charset="0"/>
              </a:rPr>
              <a:t>CONFIDENTIAL</a:t>
            </a:r>
          </a:p>
        </p:txBody>
      </p:sp>
    </p:spTree>
  </p:cSld>
  <p:clrMap bg1="lt1" tx1="dk1" bg2="lt2" tx2="dk2" accent1="accent1" accent2="accent2" accent3="accent3" accent4="accent4" accent5="accent5" accent6="accent6" hlink="hlink" folHlink="folHlink"/>
  <p:sldLayoutIdLst>
    <p:sldLayoutId id="2147483684" r:id="rId1"/>
    <p:sldLayoutId id="2147483737" r:id="rId2"/>
    <p:sldLayoutId id="2147483686" r:id="rId3"/>
    <p:sldLayoutId id="2147483691" r:id="rId4"/>
    <p:sldLayoutId id="2147483692" r:id="rId5"/>
    <p:sldLayoutId id="2147483687" r:id="rId6"/>
    <p:sldLayoutId id="2147483688" r:id="rId7"/>
    <p:sldLayoutId id="2147483690" r:id="rId8"/>
    <p:sldLayoutId id="2147483689" r:id="rId9"/>
    <p:sldLayoutId id="2147483685" r:id="rId10"/>
  </p:sldLayoutIdLst>
  <p:hf hdr="0" ftr="0" dt="0"/>
  <p:txStyles>
    <p:titleStyle>
      <a:lvl1pPr algn="l" defTabSz="1043056" rtl="0" eaLnBrk="1" latinLnBrk="0" hangingPunct="1">
        <a:lnSpc>
          <a:spcPts val="3200"/>
        </a:lnSpc>
        <a:spcBef>
          <a:spcPct val="0"/>
        </a:spcBef>
        <a:buNone/>
        <a:defRPr sz="2800" b="1" kern="1200">
          <a:solidFill>
            <a:schemeClr val="tx1"/>
          </a:solidFill>
          <a:latin typeface="SKODA Next" panose="020B0504020603020204" pitchFamily="34" charset="0"/>
          <a:ea typeface="Verdana" pitchFamily="34" charset="0"/>
          <a:cs typeface="Verdana" pitchFamily="34" charset="0"/>
        </a:defRPr>
      </a:lvl1pPr>
    </p:titleStyle>
    <p:bodyStyle>
      <a:lvl1pPr marL="18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1pPr>
      <a:lvl2pPr marL="36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2pPr>
      <a:lvl3pPr marL="54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3pPr>
      <a:lvl4pPr marL="72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4pPr>
      <a:lvl5pPr marL="90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7"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cs-CZ"/>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39"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7" userDrawn="1">
          <p15:clr>
            <a:srgbClr val="F26B43"/>
          </p15:clr>
        </p15:guide>
        <p15:guide id="2" pos="3255" userDrawn="1">
          <p15:clr>
            <a:srgbClr val="F26B43"/>
          </p15:clr>
        </p15:guide>
        <p15:guide id="3" pos="2393" userDrawn="1">
          <p15:clr>
            <a:srgbClr val="F26B43"/>
          </p15:clr>
        </p15:guide>
        <p15:guide id="4" pos="2166" userDrawn="1">
          <p15:clr>
            <a:srgbClr val="F26B43"/>
          </p15:clr>
        </p15:guide>
        <p15:guide id="5" pos="1304" userDrawn="1">
          <p15:clr>
            <a:srgbClr val="F26B43"/>
          </p15:clr>
        </p15:guide>
        <p15:guide id="6" pos="1077" userDrawn="1">
          <p15:clr>
            <a:srgbClr val="F26B43"/>
          </p15:clr>
        </p15:guide>
        <p15:guide id="7" pos="216" userDrawn="1">
          <p15:clr>
            <a:srgbClr val="F26B43"/>
          </p15:clr>
        </p15:guide>
        <p15:guide id="8" pos="3480" userDrawn="1">
          <p15:clr>
            <a:srgbClr val="F26B43"/>
          </p15:clr>
        </p15:guide>
        <p15:guide id="9" pos="4342" userDrawn="1">
          <p15:clr>
            <a:srgbClr val="F26B43"/>
          </p15:clr>
        </p15:guide>
        <p15:guide id="10" pos="4569" userDrawn="1">
          <p15:clr>
            <a:srgbClr val="F26B43"/>
          </p15:clr>
        </p15:guide>
        <p15:guide id="11" pos="5431" userDrawn="1">
          <p15:clr>
            <a:srgbClr val="F26B43"/>
          </p15:clr>
        </p15:guide>
        <p15:guide id="12" pos="5658" userDrawn="1">
          <p15:clr>
            <a:srgbClr val="F26B43"/>
          </p15:clr>
        </p15:guide>
        <p15:guide id="13" pos="6519" userDrawn="1">
          <p15:clr>
            <a:srgbClr val="F26B43"/>
          </p15:clr>
        </p15:guide>
        <p15:guide id="14" orient="horz" pos="907" userDrawn="1">
          <p15:clr>
            <a:srgbClr val="F26B43"/>
          </p15:clr>
        </p15:guide>
        <p15:guide id="15" orient="horz" pos="4172" userDrawn="1">
          <p15:clr>
            <a:srgbClr val="F26B43"/>
          </p15:clr>
        </p15:guide>
        <p15:guide id="16" orient="horz" pos="2471" userDrawn="1">
          <p15:clr>
            <a:srgbClr val="F26B43"/>
          </p15:clr>
        </p15:guide>
        <p15:guide id="17" orient="horz" pos="260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3" name="Skupina 12"/>
          <p:cNvGrpSpPr/>
          <p:nvPr userDrawn="1"/>
        </p:nvGrpSpPr>
        <p:grpSpPr>
          <a:xfrm>
            <a:off x="0" y="6961281"/>
            <a:ext cx="10693400" cy="599982"/>
            <a:chOff x="0" y="6961281"/>
            <a:chExt cx="10693400" cy="599982"/>
          </a:xfrm>
        </p:grpSpPr>
        <p:pic>
          <p:nvPicPr>
            <p:cNvPr id="20" name="Obrázek 19"/>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623721" y="7084105"/>
              <a:ext cx="1726779" cy="360000"/>
            </a:xfrm>
            <a:prstGeom prst="rect">
              <a:avLst/>
            </a:prstGeom>
          </p:spPr>
        </p:pic>
        <p:sp>
          <p:nvSpPr>
            <p:cNvPr id="21" name="Volný tvar 20"/>
            <p:cNvSpPr/>
            <p:nvPr userDrawn="1"/>
          </p:nvSpPr>
          <p:spPr>
            <a:xfrm>
              <a:off x="0" y="6961281"/>
              <a:ext cx="8444706" cy="599334"/>
            </a:xfrm>
            <a:custGeom>
              <a:avLst/>
              <a:gdLst>
                <a:gd name="connsiteX0" fmla="*/ 8186468 w 8186468"/>
                <a:gd name="connsiteY0" fmla="*/ 603849 h 603849"/>
                <a:gd name="connsiteX1" fmla="*/ 7962181 w 8186468"/>
                <a:gd name="connsiteY1" fmla="*/ 172528 h 603849"/>
                <a:gd name="connsiteX2" fmla="*/ 8074325 w 8186468"/>
                <a:gd name="connsiteY2" fmla="*/ 0 h 603849"/>
                <a:gd name="connsiteX3" fmla="*/ 112143 w 8186468"/>
                <a:gd name="connsiteY3" fmla="*/ 8626 h 603849"/>
                <a:gd name="connsiteX4" fmla="*/ 0 w 8186468"/>
                <a:gd name="connsiteY4" fmla="*/ 138023 h 603849"/>
                <a:gd name="connsiteX5" fmla="*/ 241540 w 8186468"/>
                <a:gd name="connsiteY5" fmla="*/ 603849 h 603849"/>
                <a:gd name="connsiteX6" fmla="*/ 8186468 w 8186468"/>
                <a:gd name="connsiteY6" fmla="*/ 603849 h 603849"/>
                <a:gd name="connsiteX0" fmla="*/ 8074325 w 8074325"/>
                <a:gd name="connsiteY0" fmla="*/ 603849 h 603849"/>
                <a:gd name="connsiteX1" fmla="*/ 7850038 w 8074325"/>
                <a:gd name="connsiteY1" fmla="*/ 172528 h 603849"/>
                <a:gd name="connsiteX2" fmla="*/ 7962182 w 8074325"/>
                <a:gd name="connsiteY2" fmla="*/ 0 h 603849"/>
                <a:gd name="connsiteX3" fmla="*/ 0 w 8074325"/>
                <a:gd name="connsiteY3" fmla="*/ 8626 h 603849"/>
                <a:gd name="connsiteX4" fmla="*/ 129397 w 8074325"/>
                <a:gd name="connsiteY4" fmla="*/ 603849 h 603849"/>
                <a:gd name="connsiteX5" fmla="*/ 8074325 w 8074325"/>
                <a:gd name="connsiteY5" fmla="*/ 603849 h 603849"/>
                <a:gd name="connsiteX0" fmla="*/ 8417032 w 8417032"/>
                <a:gd name="connsiteY0" fmla="*/ 603849 h 603849"/>
                <a:gd name="connsiteX1" fmla="*/ 8192745 w 8417032"/>
                <a:gd name="connsiteY1" fmla="*/ 172528 h 603849"/>
                <a:gd name="connsiteX2" fmla="*/ 8304889 w 8417032"/>
                <a:gd name="connsiteY2" fmla="*/ 0 h 603849"/>
                <a:gd name="connsiteX3" fmla="*/ 342707 w 8417032"/>
                <a:gd name="connsiteY3" fmla="*/ 8626 h 603849"/>
                <a:gd name="connsiteX4" fmla="*/ 0 w 8417032"/>
                <a:gd name="connsiteY4" fmla="*/ 601591 h 603849"/>
                <a:gd name="connsiteX5" fmla="*/ 8417032 w 8417032"/>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1591 h 603849"/>
                <a:gd name="connsiteX5" fmla="*/ 8417269 w 8417269"/>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3849 h 603849"/>
                <a:gd name="connsiteX5" fmla="*/ 8417269 w 8417269"/>
                <a:gd name="connsiteY5" fmla="*/ 603849 h 603849"/>
                <a:gd name="connsiteX0" fmla="*/ 8491108 w 8491108"/>
                <a:gd name="connsiteY0" fmla="*/ 603849 h 603849"/>
                <a:gd name="connsiteX1" fmla="*/ 8192982 w 8491108"/>
                <a:gd name="connsiteY1" fmla="*/ 172528 h 603849"/>
                <a:gd name="connsiteX2" fmla="*/ 8305126 w 8491108"/>
                <a:gd name="connsiteY2" fmla="*/ 0 h 603849"/>
                <a:gd name="connsiteX3" fmla="*/ 0 w 8491108"/>
                <a:gd name="connsiteY3" fmla="*/ 8626 h 603849"/>
                <a:gd name="connsiteX4" fmla="*/ 237 w 8491108"/>
                <a:gd name="connsiteY4" fmla="*/ 603849 h 603849"/>
                <a:gd name="connsiteX5" fmla="*/ 8491108 w 8491108"/>
                <a:gd name="connsiteY5" fmla="*/ 603849 h 603849"/>
                <a:gd name="connsiteX0" fmla="*/ 8491108 w 8491108"/>
                <a:gd name="connsiteY0" fmla="*/ 595828 h 595828"/>
                <a:gd name="connsiteX1" fmla="*/ 8192982 w 8491108"/>
                <a:gd name="connsiteY1" fmla="*/ 164507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5828 h 595828"/>
                <a:gd name="connsiteX1" fmla="*/ 8335388 w 8491108"/>
                <a:gd name="connsiteY1" fmla="*/ 239370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7306 h 597306"/>
                <a:gd name="connsiteX1" fmla="*/ 8335388 w 8491108"/>
                <a:gd name="connsiteY1" fmla="*/ 240848 h 597306"/>
                <a:gd name="connsiteX2" fmla="*/ 8455442 w 8491108"/>
                <a:gd name="connsiteY2" fmla="*/ 1478 h 597306"/>
                <a:gd name="connsiteX3" fmla="*/ 0 w 8491108"/>
                <a:gd name="connsiteY3" fmla="*/ 0 h 597306"/>
                <a:gd name="connsiteX4" fmla="*/ 237 w 8491108"/>
                <a:gd name="connsiteY4" fmla="*/ 597306 h 597306"/>
                <a:gd name="connsiteX5" fmla="*/ 8491108 w 8491108"/>
                <a:gd name="connsiteY5" fmla="*/ 597306 h 597306"/>
                <a:gd name="connsiteX0" fmla="*/ 8490871 w 8490871"/>
                <a:gd name="connsiteY0" fmla="*/ 599334 h 599334"/>
                <a:gd name="connsiteX1" fmla="*/ 8335151 w 8490871"/>
                <a:gd name="connsiteY1" fmla="*/ 242876 h 599334"/>
                <a:gd name="connsiteX2" fmla="*/ 8455205 w 8490871"/>
                <a:gd name="connsiteY2" fmla="*/ 3506 h 599334"/>
                <a:gd name="connsiteX3" fmla="*/ 159745 w 8490871"/>
                <a:gd name="connsiteY3" fmla="*/ 0 h 599334"/>
                <a:gd name="connsiteX4" fmla="*/ 0 w 8490871"/>
                <a:gd name="connsiteY4" fmla="*/ 599334 h 599334"/>
                <a:gd name="connsiteX5" fmla="*/ 8490871 w 8490871"/>
                <a:gd name="connsiteY5" fmla="*/ 599334 h 599334"/>
                <a:gd name="connsiteX0" fmla="*/ 8331126 w 8331126"/>
                <a:gd name="connsiteY0" fmla="*/ 599334 h 599334"/>
                <a:gd name="connsiteX1" fmla="*/ 8175406 w 8331126"/>
                <a:gd name="connsiteY1" fmla="*/ 242876 h 599334"/>
                <a:gd name="connsiteX2" fmla="*/ 8295460 w 8331126"/>
                <a:gd name="connsiteY2" fmla="*/ 3506 h 599334"/>
                <a:gd name="connsiteX3" fmla="*/ 0 w 8331126"/>
                <a:gd name="connsiteY3" fmla="*/ 0 h 599334"/>
                <a:gd name="connsiteX4" fmla="*/ 12236 w 8331126"/>
                <a:gd name="connsiteY4" fmla="*/ 599334 h 599334"/>
                <a:gd name="connsiteX5" fmla="*/ 8331126 w 8331126"/>
                <a:gd name="connsiteY5" fmla="*/ 599334 h 599334"/>
                <a:gd name="connsiteX0" fmla="*/ 8331126 w 8331126"/>
                <a:gd name="connsiteY0" fmla="*/ 599334 h 599334"/>
                <a:gd name="connsiteX1" fmla="*/ 8175406 w 8331126"/>
                <a:gd name="connsiteY1" fmla="*/ 242876 h 599334"/>
                <a:gd name="connsiteX2" fmla="*/ 8295460 w 8331126"/>
                <a:gd name="connsiteY2" fmla="*/ 3506 h 599334"/>
                <a:gd name="connsiteX3" fmla="*/ 0 w 8331126"/>
                <a:gd name="connsiteY3" fmla="*/ 0 h 599334"/>
                <a:gd name="connsiteX4" fmla="*/ 2842 w 8331126"/>
                <a:gd name="connsiteY4" fmla="*/ 599334 h 599334"/>
                <a:gd name="connsiteX5" fmla="*/ 8331126 w 8331126"/>
                <a:gd name="connsiteY5" fmla="*/ 599334 h 599334"/>
                <a:gd name="connsiteX0" fmla="*/ 8328482 w 8328482"/>
                <a:gd name="connsiteY0" fmla="*/ 599334 h 599334"/>
                <a:gd name="connsiteX1" fmla="*/ 8172762 w 8328482"/>
                <a:gd name="connsiteY1" fmla="*/ 242876 h 599334"/>
                <a:gd name="connsiteX2" fmla="*/ 8292816 w 8328482"/>
                <a:gd name="connsiteY2" fmla="*/ 3506 h 599334"/>
                <a:gd name="connsiteX3" fmla="*/ 1114 w 8328482"/>
                <a:gd name="connsiteY3" fmla="*/ 0 h 599334"/>
                <a:gd name="connsiteX4" fmla="*/ 198 w 8328482"/>
                <a:gd name="connsiteY4" fmla="*/ 599334 h 599334"/>
                <a:gd name="connsiteX5" fmla="*/ 8328482 w 8328482"/>
                <a:gd name="connsiteY5" fmla="*/ 599334 h 599334"/>
                <a:gd name="connsiteX0" fmla="*/ 8329247 w 8329247"/>
                <a:gd name="connsiteY0" fmla="*/ 599334 h 599334"/>
                <a:gd name="connsiteX1" fmla="*/ 8173527 w 8329247"/>
                <a:gd name="connsiteY1" fmla="*/ 242876 h 599334"/>
                <a:gd name="connsiteX2" fmla="*/ 8293581 w 8329247"/>
                <a:gd name="connsiteY2" fmla="*/ 3506 h 599334"/>
                <a:gd name="connsiteX3" fmla="*/ 0 w 8329247"/>
                <a:gd name="connsiteY3" fmla="*/ 0 h 599334"/>
                <a:gd name="connsiteX4" fmla="*/ 963 w 8329247"/>
                <a:gd name="connsiteY4" fmla="*/ 599334 h 599334"/>
                <a:gd name="connsiteX5" fmla="*/ 8329247 w 8329247"/>
                <a:gd name="connsiteY5" fmla="*/ 599334 h 599334"/>
                <a:gd name="connsiteX0" fmla="*/ 8328325 w 8328325"/>
                <a:gd name="connsiteY0" fmla="*/ 599334 h 599334"/>
                <a:gd name="connsiteX1" fmla="*/ 8172605 w 8328325"/>
                <a:gd name="connsiteY1" fmla="*/ 242876 h 599334"/>
                <a:gd name="connsiteX2" fmla="*/ 8292659 w 8328325"/>
                <a:gd name="connsiteY2" fmla="*/ 3506 h 599334"/>
                <a:gd name="connsiteX3" fmla="*/ 14110 w 8328325"/>
                <a:gd name="connsiteY3" fmla="*/ 0 h 599334"/>
                <a:gd name="connsiteX4" fmla="*/ 41 w 8328325"/>
                <a:gd name="connsiteY4" fmla="*/ 599334 h 599334"/>
                <a:gd name="connsiteX5" fmla="*/ 8328325 w 8328325"/>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21630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2841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2841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30206 w 8330206"/>
                <a:gd name="connsiteY0" fmla="*/ 599334 h 599334"/>
                <a:gd name="connsiteX1" fmla="*/ 8174486 w 8330206"/>
                <a:gd name="connsiteY1" fmla="*/ 242876 h 599334"/>
                <a:gd name="connsiteX2" fmla="*/ 8294540 w 8330206"/>
                <a:gd name="connsiteY2" fmla="*/ 3506 h 599334"/>
                <a:gd name="connsiteX3" fmla="*/ 960 w 8330206"/>
                <a:gd name="connsiteY3" fmla="*/ 0 h 599334"/>
                <a:gd name="connsiteX4" fmla="*/ 43 w 8330206"/>
                <a:gd name="connsiteY4" fmla="*/ 599334 h 599334"/>
                <a:gd name="connsiteX5" fmla="*/ 8330206 w 8330206"/>
                <a:gd name="connsiteY5" fmla="*/ 599334 h 599334"/>
                <a:gd name="connsiteX0" fmla="*/ 8331125 w 8331125"/>
                <a:gd name="connsiteY0" fmla="*/ 599334 h 599334"/>
                <a:gd name="connsiteX1" fmla="*/ 8175405 w 8331125"/>
                <a:gd name="connsiteY1" fmla="*/ 242876 h 599334"/>
                <a:gd name="connsiteX2" fmla="*/ 8295459 w 8331125"/>
                <a:gd name="connsiteY2" fmla="*/ 3506 h 599334"/>
                <a:gd name="connsiteX3" fmla="*/ 0 w 8331125"/>
                <a:gd name="connsiteY3" fmla="*/ 0 h 599334"/>
                <a:gd name="connsiteX4" fmla="*/ 962 w 8331125"/>
                <a:gd name="connsiteY4" fmla="*/ 599334 h 599334"/>
                <a:gd name="connsiteX5" fmla="*/ 8331125 w 8331125"/>
                <a:gd name="connsiteY5" fmla="*/ 599334 h 599334"/>
                <a:gd name="connsiteX0" fmla="*/ 8330185 w 8330185"/>
                <a:gd name="connsiteY0" fmla="*/ 599334 h 599334"/>
                <a:gd name="connsiteX1" fmla="*/ 8174465 w 8330185"/>
                <a:gd name="connsiteY1" fmla="*/ 242876 h 599334"/>
                <a:gd name="connsiteX2" fmla="*/ 8294519 w 8330185"/>
                <a:gd name="connsiteY2" fmla="*/ 3506 h 599334"/>
                <a:gd name="connsiteX3" fmla="*/ 2818 w 8330185"/>
                <a:gd name="connsiteY3" fmla="*/ 0 h 599334"/>
                <a:gd name="connsiteX4" fmla="*/ 22 w 8330185"/>
                <a:gd name="connsiteY4" fmla="*/ 599334 h 599334"/>
                <a:gd name="connsiteX5" fmla="*/ 8330185 w 8330185"/>
                <a:gd name="connsiteY5" fmla="*/ 599334 h 599334"/>
                <a:gd name="connsiteX0" fmla="*/ 8328328 w 8328328"/>
                <a:gd name="connsiteY0" fmla="*/ 599334 h 599334"/>
                <a:gd name="connsiteX1" fmla="*/ 8172608 w 8328328"/>
                <a:gd name="connsiteY1" fmla="*/ 242876 h 599334"/>
                <a:gd name="connsiteX2" fmla="*/ 8292662 w 8328328"/>
                <a:gd name="connsiteY2" fmla="*/ 3506 h 599334"/>
                <a:gd name="connsiteX3" fmla="*/ 961 w 8328328"/>
                <a:gd name="connsiteY3" fmla="*/ 0 h 599334"/>
                <a:gd name="connsiteX4" fmla="*/ 44 w 8328328"/>
                <a:gd name="connsiteY4" fmla="*/ 599334 h 599334"/>
                <a:gd name="connsiteX5" fmla="*/ 8328328 w 8328328"/>
                <a:gd name="connsiteY5" fmla="*/ 599334 h 599334"/>
                <a:gd name="connsiteX0" fmla="*/ 8327367 w 8327367"/>
                <a:gd name="connsiteY0" fmla="*/ 599334 h 599334"/>
                <a:gd name="connsiteX1" fmla="*/ 8171647 w 8327367"/>
                <a:gd name="connsiteY1" fmla="*/ 242876 h 599334"/>
                <a:gd name="connsiteX2" fmla="*/ 8291701 w 8327367"/>
                <a:gd name="connsiteY2" fmla="*/ 3506 h 599334"/>
                <a:gd name="connsiteX3" fmla="*/ 0 w 8327367"/>
                <a:gd name="connsiteY3" fmla="*/ 0 h 599334"/>
                <a:gd name="connsiteX4" fmla="*/ 962 w 8327367"/>
                <a:gd name="connsiteY4" fmla="*/ 599334 h 599334"/>
                <a:gd name="connsiteX5" fmla="*/ 8327367 w 8327367"/>
                <a:gd name="connsiteY5" fmla="*/ 599334 h 599334"/>
                <a:gd name="connsiteX0" fmla="*/ 8328327 w 8328327"/>
                <a:gd name="connsiteY0" fmla="*/ 599334 h 599334"/>
                <a:gd name="connsiteX1" fmla="*/ 8172607 w 8328327"/>
                <a:gd name="connsiteY1" fmla="*/ 242876 h 599334"/>
                <a:gd name="connsiteX2" fmla="*/ 8292661 w 8328327"/>
                <a:gd name="connsiteY2" fmla="*/ 3506 h 599334"/>
                <a:gd name="connsiteX3" fmla="*/ 960 w 8328327"/>
                <a:gd name="connsiteY3" fmla="*/ 0 h 599334"/>
                <a:gd name="connsiteX4" fmla="*/ 43 w 8328327"/>
                <a:gd name="connsiteY4" fmla="*/ 599334 h 599334"/>
                <a:gd name="connsiteX5" fmla="*/ 8328327 w 8328327"/>
                <a:gd name="connsiteY5" fmla="*/ 599334 h 599334"/>
                <a:gd name="connsiteX0" fmla="*/ 8328285 w 8328285"/>
                <a:gd name="connsiteY0" fmla="*/ 599334 h 599334"/>
                <a:gd name="connsiteX1" fmla="*/ 8172565 w 8328285"/>
                <a:gd name="connsiteY1" fmla="*/ 242876 h 599334"/>
                <a:gd name="connsiteX2" fmla="*/ 8292619 w 8328285"/>
                <a:gd name="connsiteY2" fmla="*/ 3506 h 599334"/>
                <a:gd name="connsiteX3" fmla="*/ 341008 w 8328285"/>
                <a:gd name="connsiteY3" fmla="*/ 0 h 599334"/>
                <a:gd name="connsiteX4" fmla="*/ 1 w 8328285"/>
                <a:gd name="connsiteY4" fmla="*/ 599334 h 599334"/>
                <a:gd name="connsiteX5" fmla="*/ 8328285 w 8328285"/>
                <a:gd name="connsiteY5" fmla="*/ 599334 h 599334"/>
                <a:gd name="connsiteX0" fmla="*/ 7990094 w 7990094"/>
                <a:gd name="connsiteY0" fmla="*/ 599334 h 601239"/>
                <a:gd name="connsiteX1" fmla="*/ 7834374 w 7990094"/>
                <a:gd name="connsiteY1" fmla="*/ 242876 h 601239"/>
                <a:gd name="connsiteX2" fmla="*/ 7954428 w 7990094"/>
                <a:gd name="connsiteY2" fmla="*/ 3506 h 601239"/>
                <a:gd name="connsiteX3" fmla="*/ 2817 w 7990094"/>
                <a:gd name="connsiteY3" fmla="*/ 0 h 601239"/>
                <a:gd name="connsiteX4" fmla="*/ 22 w 7990094"/>
                <a:gd name="connsiteY4" fmla="*/ 601239 h 601239"/>
                <a:gd name="connsiteX5" fmla="*/ 7990094 w 7990094"/>
                <a:gd name="connsiteY5" fmla="*/ 599334 h 601239"/>
                <a:gd name="connsiteX0" fmla="*/ 8328284 w 8328284"/>
                <a:gd name="connsiteY0" fmla="*/ 599334 h 599334"/>
                <a:gd name="connsiteX1" fmla="*/ 8172564 w 8328284"/>
                <a:gd name="connsiteY1" fmla="*/ 242876 h 599334"/>
                <a:gd name="connsiteX2" fmla="*/ 8292618 w 8328284"/>
                <a:gd name="connsiteY2" fmla="*/ 3506 h 599334"/>
                <a:gd name="connsiteX3" fmla="*/ 341007 w 8328284"/>
                <a:gd name="connsiteY3" fmla="*/ 0 h 599334"/>
                <a:gd name="connsiteX4" fmla="*/ 0 w 8328284"/>
                <a:gd name="connsiteY4" fmla="*/ 597429 h 599334"/>
                <a:gd name="connsiteX5" fmla="*/ 8328284 w 8328284"/>
                <a:gd name="connsiteY5" fmla="*/ 599334 h 599334"/>
                <a:gd name="connsiteX0" fmla="*/ 8328284 w 8328284"/>
                <a:gd name="connsiteY0" fmla="*/ 599334 h 599334"/>
                <a:gd name="connsiteX1" fmla="*/ 8172564 w 8328284"/>
                <a:gd name="connsiteY1" fmla="*/ 242876 h 599334"/>
                <a:gd name="connsiteX2" fmla="*/ 8292618 w 8328284"/>
                <a:gd name="connsiteY2" fmla="*/ 3506 h 599334"/>
                <a:gd name="connsiteX3" fmla="*/ 341007 w 8328284"/>
                <a:gd name="connsiteY3" fmla="*/ 0 h 599334"/>
                <a:gd name="connsiteX4" fmla="*/ 0 w 8328284"/>
                <a:gd name="connsiteY4" fmla="*/ 599334 h 599334"/>
                <a:gd name="connsiteX5" fmla="*/ 8328284 w 8328284"/>
                <a:gd name="connsiteY5" fmla="*/ 599334 h 599334"/>
                <a:gd name="connsiteX0" fmla="*/ 8329247 w 8329247"/>
                <a:gd name="connsiteY0" fmla="*/ 599334 h 599334"/>
                <a:gd name="connsiteX1" fmla="*/ 8173527 w 8329247"/>
                <a:gd name="connsiteY1" fmla="*/ 242876 h 599334"/>
                <a:gd name="connsiteX2" fmla="*/ 8293581 w 8329247"/>
                <a:gd name="connsiteY2" fmla="*/ 3506 h 599334"/>
                <a:gd name="connsiteX3" fmla="*/ 0 w 8329247"/>
                <a:gd name="connsiteY3" fmla="*/ 0 h 599334"/>
                <a:gd name="connsiteX4" fmla="*/ 963 w 8329247"/>
                <a:gd name="connsiteY4" fmla="*/ 599334 h 599334"/>
                <a:gd name="connsiteX5" fmla="*/ 8329247 w 8329247"/>
                <a:gd name="connsiteY5" fmla="*/ 599334 h 59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29247" h="599334">
                  <a:moveTo>
                    <a:pt x="8329247" y="599334"/>
                  </a:moveTo>
                  <a:lnTo>
                    <a:pt x="8173527" y="242876"/>
                  </a:lnTo>
                  <a:lnTo>
                    <a:pt x="8293581" y="3506"/>
                  </a:lnTo>
                  <a:lnTo>
                    <a:pt x="0" y="0"/>
                  </a:lnTo>
                  <a:lnTo>
                    <a:pt x="963" y="599334"/>
                  </a:lnTo>
                  <a:lnTo>
                    <a:pt x="8329247" y="599334"/>
                  </a:lnTo>
                  <a:close/>
                </a:path>
              </a:pathLst>
            </a:cu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noProof="0" dirty="0"/>
            </a:p>
          </p:txBody>
        </p:sp>
        <p:sp>
          <p:nvSpPr>
            <p:cNvPr id="22" name="Volný tvar 21"/>
            <p:cNvSpPr/>
            <p:nvPr userDrawn="1"/>
          </p:nvSpPr>
          <p:spPr>
            <a:xfrm>
              <a:off x="1907202" y="7204157"/>
              <a:ext cx="6537502" cy="357106"/>
            </a:xfrm>
            <a:custGeom>
              <a:avLst/>
              <a:gdLst>
                <a:gd name="connsiteX0" fmla="*/ 8186468 w 8186468"/>
                <a:gd name="connsiteY0" fmla="*/ 603849 h 603849"/>
                <a:gd name="connsiteX1" fmla="*/ 7962181 w 8186468"/>
                <a:gd name="connsiteY1" fmla="*/ 172528 h 603849"/>
                <a:gd name="connsiteX2" fmla="*/ 8074325 w 8186468"/>
                <a:gd name="connsiteY2" fmla="*/ 0 h 603849"/>
                <a:gd name="connsiteX3" fmla="*/ 112143 w 8186468"/>
                <a:gd name="connsiteY3" fmla="*/ 8626 h 603849"/>
                <a:gd name="connsiteX4" fmla="*/ 0 w 8186468"/>
                <a:gd name="connsiteY4" fmla="*/ 138023 h 603849"/>
                <a:gd name="connsiteX5" fmla="*/ 241540 w 8186468"/>
                <a:gd name="connsiteY5" fmla="*/ 603849 h 603849"/>
                <a:gd name="connsiteX6" fmla="*/ 8186468 w 8186468"/>
                <a:gd name="connsiteY6" fmla="*/ 603849 h 603849"/>
                <a:gd name="connsiteX0" fmla="*/ 8074325 w 8074325"/>
                <a:gd name="connsiteY0" fmla="*/ 603849 h 603849"/>
                <a:gd name="connsiteX1" fmla="*/ 7850038 w 8074325"/>
                <a:gd name="connsiteY1" fmla="*/ 172528 h 603849"/>
                <a:gd name="connsiteX2" fmla="*/ 7962182 w 8074325"/>
                <a:gd name="connsiteY2" fmla="*/ 0 h 603849"/>
                <a:gd name="connsiteX3" fmla="*/ 0 w 8074325"/>
                <a:gd name="connsiteY3" fmla="*/ 8626 h 603849"/>
                <a:gd name="connsiteX4" fmla="*/ 129397 w 8074325"/>
                <a:gd name="connsiteY4" fmla="*/ 603849 h 603849"/>
                <a:gd name="connsiteX5" fmla="*/ 8074325 w 8074325"/>
                <a:gd name="connsiteY5" fmla="*/ 603849 h 603849"/>
                <a:gd name="connsiteX0" fmla="*/ 8417032 w 8417032"/>
                <a:gd name="connsiteY0" fmla="*/ 603849 h 603849"/>
                <a:gd name="connsiteX1" fmla="*/ 8192745 w 8417032"/>
                <a:gd name="connsiteY1" fmla="*/ 172528 h 603849"/>
                <a:gd name="connsiteX2" fmla="*/ 8304889 w 8417032"/>
                <a:gd name="connsiteY2" fmla="*/ 0 h 603849"/>
                <a:gd name="connsiteX3" fmla="*/ 342707 w 8417032"/>
                <a:gd name="connsiteY3" fmla="*/ 8626 h 603849"/>
                <a:gd name="connsiteX4" fmla="*/ 0 w 8417032"/>
                <a:gd name="connsiteY4" fmla="*/ 601591 h 603849"/>
                <a:gd name="connsiteX5" fmla="*/ 8417032 w 8417032"/>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1591 h 603849"/>
                <a:gd name="connsiteX5" fmla="*/ 8417269 w 8417269"/>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3849 h 603849"/>
                <a:gd name="connsiteX5" fmla="*/ 8417269 w 8417269"/>
                <a:gd name="connsiteY5" fmla="*/ 603849 h 603849"/>
                <a:gd name="connsiteX0" fmla="*/ 8491108 w 8491108"/>
                <a:gd name="connsiteY0" fmla="*/ 603849 h 603849"/>
                <a:gd name="connsiteX1" fmla="*/ 8192982 w 8491108"/>
                <a:gd name="connsiteY1" fmla="*/ 172528 h 603849"/>
                <a:gd name="connsiteX2" fmla="*/ 8305126 w 8491108"/>
                <a:gd name="connsiteY2" fmla="*/ 0 h 603849"/>
                <a:gd name="connsiteX3" fmla="*/ 0 w 8491108"/>
                <a:gd name="connsiteY3" fmla="*/ 8626 h 603849"/>
                <a:gd name="connsiteX4" fmla="*/ 237 w 8491108"/>
                <a:gd name="connsiteY4" fmla="*/ 603849 h 603849"/>
                <a:gd name="connsiteX5" fmla="*/ 8491108 w 8491108"/>
                <a:gd name="connsiteY5" fmla="*/ 603849 h 603849"/>
                <a:gd name="connsiteX0" fmla="*/ 8491108 w 8491108"/>
                <a:gd name="connsiteY0" fmla="*/ 595828 h 595828"/>
                <a:gd name="connsiteX1" fmla="*/ 8192982 w 8491108"/>
                <a:gd name="connsiteY1" fmla="*/ 164507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5828 h 595828"/>
                <a:gd name="connsiteX1" fmla="*/ 8335388 w 8491108"/>
                <a:gd name="connsiteY1" fmla="*/ 239370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7306 h 597306"/>
                <a:gd name="connsiteX1" fmla="*/ 8335388 w 8491108"/>
                <a:gd name="connsiteY1" fmla="*/ 240848 h 597306"/>
                <a:gd name="connsiteX2" fmla="*/ 8455442 w 8491108"/>
                <a:gd name="connsiteY2" fmla="*/ 1478 h 597306"/>
                <a:gd name="connsiteX3" fmla="*/ 0 w 8491108"/>
                <a:gd name="connsiteY3" fmla="*/ 0 h 597306"/>
                <a:gd name="connsiteX4" fmla="*/ 237 w 8491108"/>
                <a:gd name="connsiteY4" fmla="*/ 597306 h 597306"/>
                <a:gd name="connsiteX5" fmla="*/ 8491108 w 8491108"/>
                <a:gd name="connsiteY5" fmla="*/ 597306 h 597306"/>
                <a:gd name="connsiteX0" fmla="*/ 8491108 w 8491108"/>
                <a:gd name="connsiteY0" fmla="*/ 597306 h 597306"/>
                <a:gd name="connsiteX1" fmla="*/ 8335388 w 8491108"/>
                <a:gd name="connsiteY1" fmla="*/ 240848 h 597306"/>
                <a:gd name="connsiteX2" fmla="*/ 2033595 w 8491108"/>
                <a:gd name="connsiteY2" fmla="*/ 594144 h 597306"/>
                <a:gd name="connsiteX3" fmla="*/ 0 w 8491108"/>
                <a:gd name="connsiteY3" fmla="*/ 0 h 597306"/>
                <a:gd name="connsiteX4" fmla="*/ 237 w 8491108"/>
                <a:gd name="connsiteY4" fmla="*/ 597306 h 597306"/>
                <a:gd name="connsiteX5" fmla="*/ 8491108 w 8491108"/>
                <a:gd name="connsiteY5" fmla="*/ 597306 h 597306"/>
                <a:gd name="connsiteX0" fmla="*/ 8490871 w 8490871"/>
                <a:gd name="connsiteY0" fmla="*/ 356458 h 356458"/>
                <a:gd name="connsiteX1" fmla="*/ 8335151 w 8490871"/>
                <a:gd name="connsiteY1" fmla="*/ 0 h 356458"/>
                <a:gd name="connsiteX2" fmla="*/ 2033358 w 8490871"/>
                <a:gd name="connsiteY2" fmla="*/ 353296 h 356458"/>
                <a:gd name="connsiteX3" fmla="*/ 0 w 8490871"/>
                <a:gd name="connsiteY3" fmla="*/ 356458 h 356458"/>
                <a:gd name="connsiteX4" fmla="*/ 8490871 w 8490871"/>
                <a:gd name="connsiteY4" fmla="*/ 356458 h 356458"/>
                <a:gd name="connsiteX0" fmla="*/ 6457513 w 6457513"/>
                <a:gd name="connsiteY0" fmla="*/ 356458 h 356458"/>
                <a:gd name="connsiteX1" fmla="*/ 6301793 w 6457513"/>
                <a:gd name="connsiteY1" fmla="*/ 0 h 356458"/>
                <a:gd name="connsiteX2" fmla="*/ 0 w 6457513"/>
                <a:gd name="connsiteY2" fmla="*/ 353296 h 356458"/>
                <a:gd name="connsiteX3" fmla="*/ 6457513 w 6457513"/>
                <a:gd name="connsiteY3" fmla="*/ 356458 h 356458"/>
                <a:gd name="connsiteX0" fmla="*/ 6448118 w 6448118"/>
                <a:gd name="connsiteY0" fmla="*/ 356458 h 357106"/>
                <a:gd name="connsiteX1" fmla="*/ 6292398 w 6448118"/>
                <a:gd name="connsiteY1" fmla="*/ 0 h 357106"/>
                <a:gd name="connsiteX2" fmla="*/ 0 w 6448118"/>
                <a:gd name="connsiteY2" fmla="*/ 357106 h 357106"/>
                <a:gd name="connsiteX3" fmla="*/ 6448118 w 6448118"/>
                <a:gd name="connsiteY3" fmla="*/ 356458 h 357106"/>
              </a:gdLst>
              <a:ahLst/>
              <a:cxnLst>
                <a:cxn ang="0">
                  <a:pos x="connsiteX0" y="connsiteY0"/>
                </a:cxn>
                <a:cxn ang="0">
                  <a:pos x="connsiteX1" y="connsiteY1"/>
                </a:cxn>
                <a:cxn ang="0">
                  <a:pos x="connsiteX2" y="connsiteY2"/>
                </a:cxn>
                <a:cxn ang="0">
                  <a:pos x="connsiteX3" y="connsiteY3"/>
                </a:cxn>
              </a:cxnLst>
              <a:rect l="l" t="t" r="r" b="b"/>
              <a:pathLst>
                <a:path w="6448118" h="357106">
                  <a:moveTo>
                    <a:pt x="6448118" y="356458"/>
                  </a:moveTo>
                  <a:lnTo>
                    <a:pt x="6292398" y="0"/>
                  </a:lnTo>
                  <a:lnTo>
                    <a:pt x="0" y="357106"/>
                  </a:lnTo>
                  <a:lnTo>
                    <a:pt x="6448118" y="356458"/>
                  </a:lnTo>
                  <a:close/>
                </a:path>
              </a:pathLst>
            </a:custGeom>
            <a:solidFill>
              <a:srgbClr val="B6B6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noProof="0" dirty="0"/>
            </a:p>
          </p:txBody>
        </p:sp>
        <p:sp>
          <p:nvSpPr>
            <p:cNvPr id="23" name="Volný tvar 22"/>
            <p:cNvSpPr/>
            <p:nvPr userDrawn="1"/>
          </p:nvSpPr>
          <p:spPr>
            <a:xfrm>
              <a:off x="3635636" y="6964787"/>
              <a:ext cx="4772907" cy="239370"/>
            </a:xfrm>
            <a:custGeom>
              <a:avLst/>
              <a:gdLst>
                <a:gd name="connsiteX0" fmla="*/ 8186468 w 8186468"/>
                <a:gd name="connsiteY0" fmla="*/ 603849 h 603849"/>
                <a:gd name="connsiteX1" fmla="*/ 7962181 w 8186468"/>
                <a:gd name="connsiteY1" fmla="*/ 172528 h 603849"/>
                <a:gd name="connsiteX2" fmla="*/ 8074325 w 8186468"/>
                <a:gd name="connsiteY2" fmla="*/ 0 h 603849"/>
                <a:gd name="connsiteX3" fmla="*/ 112143 w 8186468"/>
                <a:gd name="connsiteY3" fmla="*/ 8626 h 603849"/>
                <a:gd name="connsiteX4" fmla="*/ 0 w 8186468"/>
                <a:gd name="connsiteY4" fmla="*/ 138023 h 603849"/>
                <a:gd name="connsiteX5" fmla="*/ 241540 w 8186468"/>
                <a:gd name="connsiteY5" fmla="*/ 603849 h 603849"/>
                <a:gd name="connsiteX6" fmla="*/ 8186468 w 8186468"/>
                <a:gd name="connsiteY6" fmla="*/ 603849 h 603849"/>
                <a:gd name="connsiteX0" fmla="*/ 8074325 w 8074325"/>
                <a:gd name="connsiteY0" fmla="*/ 603849 h 603849"/>
                <a:gd name="connsiteX1" fmla="*/ 7850038 w 8074325"/>
                <a:gd name="connsiteY1" fmla="*/ 172528 h 603849"/>
                <a:gd name="connsiteX2" fmla="*/ 7962182 w 8074325"/>
                <a:gd name="connsiteY2" fmla="*/ 0 h 603849"/>
                <a:gd name="connsiteX3" fmla="*/ 0 w 8074325"/>
                <a:gd name="connsiteY3" fmla="*/ 8626 h 603849"/>
                <a:gd name="connsiteX4" fmla="*/ 129397 w 8074325"/>
                <a:gd name="connsiteY4" fmla="*/ 603849 h 603849"/>
                <a:gd name="connsiteX5" fmla="*/ 8074325 w 8074325"/>
                <a:gd name="connsiteY5" fmla="*/ 603849 h 603849"/>
                <a:gd name="connsiteX0" fmla="*/ 8417032 w 8417032"/>
                <a:gd name="connsiteY0" fmla="*/ 603849 h 603849"/>
                <a:gd name="connsiteX1" fmla="*/ 8192745 w 8417032"/>
                <a:gd name="connsiteY1" fmla="*/ 172528 h 603849"/>
                <a:gd name="connsiteX2" fmla="*/ 8304889 w 8417032"/>
                <a:gd name="connsiteY2" fmla="*/ 0 h 603849"/>
                <a:gd name="connsiteX3" fmla="*/ 342707 w 8417032"/>
                <a:gd name="connsiteY3" fmla="*/ 8626 h 603849"/>
                <a:gd name="connsiteX4" fmla="*/ 0 w 8417032"/>
                <a:gd name="connsiteY4" fmla="*/ 601591 h 603849"/>
                <a:gd name="connsiteX5" fmla="*/ 8417032 w 8417032"/>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1591 h 603849"/>
                <a:gd name="connsiteX5" fmla="*/ 8417269 w 8417269"/>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3849 h 603849"/>
                <a:gd name="connsiteX5" fmla="*/ 8417269 w 8417269"/>
                <a:gd name="connsiteY5" fmla="*/ 603849 h 603849"/>
                <a:gd name="connsiteX0" fmla="*/ 8491108 w 8491108"/>
                <a:gd name="connsiteY0" fmla="*/ 603849 h 603849"/>
                <a:gd name="connsiteX1" fmla="*/ 8192982 w 8491108"/>
                <a:gd name="connsiteY1" fmla="*/ 172528 h 603849"/>
                <a:gd name="connsiteX2" fmla="*/ 8305126 w 8491108"/>
                <a:gd name="connsiteY2" fmla="*/ 0 h 603849"/>
                <a:gd name="connsiteX3" fmla="*/ 0 w 8491108"/>
                <a:gd name="connsiteY3" fmla="*/ 8626 h 603849"/>
                <a:gd name="connsiteX4" fmla="*/ 237 w 8491108"/>
                <a:gd name="connsiteY4" fmla="*/ 603849 h 603849"/>
                <a:gd name="connsiteX5" fmla="*/ 8491108 w 8491108"/>
                <a:gd name="connsiteY5" fmla="*/ 603849 h 603849"/>
                <a:gd name="connsiteX0" fmla="*/ 8491108 w 8491108"/>
                <a:gd name="connsiteY0" fmla="*/ 595828 h 595828"/>
                <a:gd name="connsiteX1" fmla="*/ 8192982 w 8491108"/>
                <a:gd name="connsiteY1" fmla="*/ 164507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5828 h 595828"/>
                <a:gd name="connsiteX1" fmla="*/ 8335388 w 8491108"/>
                <a:gd name="connsiteY1" fmla="*/ 239370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7306 h 597306"/>
                <a:gd name="connsiteX1" fmla="*/ 8335388 w 8491108"/>
                <a:gd name="connsiteY1" fmla="*/ 240848 h 597306"/>
                <a:gd name="connsiteX2" fmla="*/ 8455442 w 8491108"/>
                <a:gd name="connsiteY2" fmla="*/ 1478 h 597306"/>
                <a:gd name="connsiteX3" fmla="*/ 0 w 8491108"/>
                <a:gd name="connsiteY3" fmla="*/ 0 h 597306"/>
                <a:gd name="connsiteX4" fmla="*/ 237 w 8491108"/>
                <a:gd name="connsiteY4" fmla="*/ 597306 h 597306"/>
                <a:gd name="connsiteX5" fmla="*/ 8491108 w 8491108"/>
                <a:gd name="connsiteY5" fmla="*/ 597306 h 597306"/>
                <a:gd name="connsiteX0" fmla="*/ 3747792 w 8455442"/>
                <a:gd name="connsiteY0" fmla="*/ 0 h 601133"/>
                <a:gd name="connsiteX1" fmla="*/ 8335388 w 8455442"/>
                <a:gd name="connsiteY1" fmla="*/ 244675 h 601133"/>
                <a:gd name="connsiteX2" fmla="*/ 8455442 w 8455442"/>
                <a:gd name="connsiteY2" fmla="*/ 5305 h 601133"/>
                <a:gd name="connsiteX3" fmla="*/ 0 w 8455442"/>
                <a:gd name="connsiteY3" fmla="*/ 3827 h 601133"/>
                <a:gd name="connsiteX4" fmla="*/ 237 w 8455442"/>
                <a:gd name="connsiteY4" fmla="*/ 601133 h 601133"/>
                <a:gd name="connsiteX5" fmla="*/ 3747792 w 8455442"/>
                <a:gd name="connsiteY5" fmla="*/ 0 h 601133"/>
                <a:gd name="connsiteX0" fmla="*/ 3747792 w 8455442"/>
                <a:gd name="connsiteY0" fmla="*/ 0 h 244675"/>
                <a:gd name="connsiteX1" fmla="*/ 8335388 w 8455442"/>
                <a:gd name="connsiteY1" fmla="*/ 244675 h 244675"/>
                <a:gd name="connsiteX2" fmla="*/ 8455442 w 8455442"/>
                <a:gd name="connsiteY2" fmla="*/ 5305 h 244675"/>
                <a:gd name="connsiteX3" fmla="*/ 0 w 8455442"/>
                <a:gd name="connsiteY3" fmla="*/ 3827 h 244675"/>
                <a:gd name="connsiteX4" fmla="*/ 3747792 w 8455442"/>
                <a:gd name="connsiteY4" fmla="*/ 0 h 244675"/>
                <a:gd name="connsiteX0" fmla="*/ 0 w 4707650"/>
                <a:gd name="connsiteY0" fmla="*/ 0 h 244675"/>
                <a:gd name="connsiteX1" fmla="*/ 4587596 w 4707650"/>
                <a:gd name="connsiteY1" fmla="*/ 244675 h 244675"/>
                <a:gd name="connsiteX2" fmla="*/ 4707650 w 4707650"/>
                <a:gd name="connsiteY2" fmla="*/ 5305 h 244675"/>
                <a:gd name="connsiteX3" fmla="*/ 0 w 4707650"/>
                <a:gd name="connsiteY3" fmla="*/ 0 h 244675"/>
                <a:gd name="connsiteX0" fmla="*/ 0 w 4707650"/>
                <a:gd name="connsiteY0" fmla="*/ 410 h 239370"/>
                <a:gd name="connsiteX1" fmla="*/ 4587596 w 4707650"/>
                <a:gd name="connsiteY1" fmla="*/ 239370 h 239370"/>
                <a:gd name="connsiteX2" fmla="*/ 4707650 w 4707650"/>
                <a:gd name="connsiteY2" fmla="*/ 0 h 239370"/>
                <a:gd name="connsiteX3" fmla="*/ 0 w 4707650"/>
                <a:gd name="connsiteY3" fmla="*/ 410 h 239370"/>
              </a:gdLst>
              <a:ahLst/>
              <a:cxnLst>
                <a:cxn ang="0">
                  <a:pos x="connsiteX0" y="connsiteY0"/>
                </a:cxn>
                <a:cxn ang="0">
                  <a:pos x="connsiteX1" y="connsiteY1"/>
                </a:cxn>
                <a:cxn ang="0">
                  <a:pos x="connsiteX2" y="connsiteY2"/>
                </a:cxn>
                <a:cxn ang="0">
                  <a:pos x="connsiteX3" y="connsiteY3"/>
                </a:cxn>
              </a:cxnLst>
              <a:rect l="l" t="t" r="r" b="b"/>
              <a:pathLst>
                <a:path w="4707650" h="239370">
                  <a:moveTo>
                    <a:pt x="0" y="410"/>
                  </a:moveTo>
                  <a:lnTo>
                    <a:pt x="4587596" y="239370"/>
                  </a:lnTo>
                  <a:lnTo>
                    <a:pt x="4707650" y="0"/>
                  </a:lnTo>
                  <a:lnTo>
                    <a:pt x="0" y="410"/>
                  </a:lnTo>
                  <a:close/>
                </a:path>
              </a:pathLst>
            </a:custGeom>
            <a:solidFill>
              <a:srgbClr val="C3C3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noProof="0" dirty="0"/>
            </a:p>
          </p:txBody>
        </p:sp>
        <p:cxnSp>
          <p:nvCxnSpPr>
            <p:cNvPr id="24" name="Přímá spojnice 23"/>
            <p:cNvCxnSpPr/>
            <p:nvPr userDrawn="1"/>
          </p:nvCxnSpPr>
          <p:spPr>
            <a:xfrm flipH="1" flipV="1">
              <a:off x="8389400" y="6966692"/>
              <a:ext cx="2304000" cy="402"/>
            </a:xfrm>
            <a:prstGeom prst="line">
              <a:avLst/>
            </a:prstGeom>
            <a:ln w="6350">
              <a:solidFill>
                <a:srgbClr val="C3C3C3"/>
              </a:solidFill>
            </a:ln>
          </p:spPr>
          <p:style>
            <a:lnRef idx="1">
              <a:schemeClr val="accent1"/>
            </a:lnRef>
            <a:fillRef idx="0">
              <a:schemeClr val="accent1"/>
            </a:fillRef>
            <a:effectRef idx="0">
              <a:schemeClr val="accent1"/>
            </a:effectRef>
            <a:fontRef idx="minor">
              <a:schemeClr val="tx1"/>
            </a:fontRef>
          </p:style>
        </p:cxnSp>
      </p:grpSp>
      <p:graphicFrame>
        <p:nvGraphicFramePr>
          <p:cNvPr id="6" name="Objekt 5" hidden="1"/>
          <p:cNvGraphicFramePr>
            <a:graphicFrameLocks noChangeAspect="1"/>
          </p:cNvGraphicFramePr>
          <p:nvPr userDrawn="1">
            <p:custDataLst>
              <p:tags r:id="rId1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4" imgW="399" imgH="398" progId="TCLayout.ActiveDocument.1">
                  <p:embed/>
                </p:oleObj>
              </mc:Choice>
              <mc:Fallback>
                <p:oleObj name="think-cell Slide" r:id="rId14" imgW="399" imgH="398" progId="TCLayout.ActiveDocument.1">
                  <p:embed/>
                  <p:pic>
                    <p:nvPicPr>
                      <p:cNvPr id="6" name="Objekt 5" hidden="1"/>
                      <p:cNvPicPr/>
                      <p:nvPr/>
                    </p:nvPicPr>
                    <p:blipFill>
                      <a:blip r:embed="rId15"/>
                      <a:stretch>
                        <a:fillRect/>
                      </a:stretch>
                    </p:blipFill>
                    <p:spPr>
                      <a:xfrm>
                        <a:off x="1589" y="1589"/>
                        <a:ext cx="1587" cy="1587"/>
                      </a:xfrm>
                      <a:prstGeom prst="rect">
                        <a:avLst/>
                      </a:prstGeom>
                    </p:spPr>
                  </p:pic>
                </p:oleObj>
              </mc:Fallback>
            </mc:AlternateContent>
          </a:graphicData>
        </a:graphic>
      </p:graphicFrame>
      <p:sp>
        <p:nvSpPr>
          <p:cNvPr id="3" name="Zástupný symbol pro text 2"/>
          <p:cNvSpPr>
            <a:spLocks noGrp="1"/>
          </p:cNvSpPr>
          <p:nvPr>
            <p:ph type="body" idx="1"/>
          </p:nvPr>
        </p:nvSpPr>
        <p:spPr>
          <a:xfrm>
            <a:off x="342850" y="1439562"/>
            <a:ext cx="10006115" cy="5183685"/>
          </a:xfrm>
          <a:prstGeom prst="rect">
            <a:avLst/>
          </a:prstGeom>
        </p:spPr>
        <p:txBody>
          <a:bodyPr vert="horz" lIns="0" tIns="0" rIns="0" bIns="0" rtlCol="0">
            <a:normAutofit/>
          </a:body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5" name="Zástupný symbol pro zápatí 4"/>
          <p:cNvSpPr>
            <a:spLocks noGrp="1"/>
          </p:cNvSpPr>
          <p:nvPr>
            <p:ph type="ftr" sz="quarter" idx="3"/>
          </p:nvPr>
        </p:nvSpPr>
        <p:spPr>
          <a:xfrm>
            <a:off x="719894" y="7162496"/>
            <a:ext cx="6173596" cy="179962"/>
          </a:xfrm>
          <a:prstGeom prst="rect">
            <a:avLst/>
          </a:prstGeom>
        </p:spPr>
        <p:txBody>
          <a:bodyPr vert="horz" lIns="0" tIns="0" rIns="0" bIns="0" rtlCol="0" anchor="b" anchorCtr="0"/>
          <a:lstStyle>
            <a:lvl1pPr algn="l">
              <a:defRPr sz="700">
                <a:solidFill>
                  <a:schemeClr val="tx1"/>
                </a:solidFill>
                <a:latin typeface="SKODA Next" panose="020B0504020603020204" pitchFamily="34" charset="0"/>
                <a:ea typeface="Verdana" pitchFamily="34" charset="0"/>
                <a:cs typeface="Verdana" pitchFamily="34" charset="0"/>
              </a:defRPr>
            </a:lvl1pPr>
          </a:lstStyle>
          <a:p>
            <a:endParaRPr lang="cs-CZ" dirty="0"/>
          </a:p>
        </p:txBody>
      </p:sp>
      <p:sp>
        <p:nvSpPr>
          <p:cNvPr id="7" name="Zástupný symbol pro číslo snímku 6"/>
          <p:cNvSpPr>
            <a:spLocks noGrp="1"/>
          </p:cNvSpPr>
          <p:nvPr>
            <p:ph type="sldNum" sz="quarter" idx="4"/>
          </p:nvPr>
        </p:nvSpPr>
        <p:spPr>
          <a:xfrm>
            <a:off x="342849" y="7162496"/>
            <a:ext cx="269960" cy="179962"/>
          </a:xfrm>
          <a:prstGeom prst="rect">
            <a:avLst/>
          </a:prstGeom>
        </p:spPr>
        <p:txBody>
          <a:bodyPr vert="horz" lIns="0" tIns="0" rIns="0" bIns="0" rtlCol="0" anchor="b" anchorCtr="0"/>
          <a:lstStyle>
            <a:lvl1pPr algn="l">
              <a:defRPr sz="700">
                <a:solidFill>
                  <a:schemeClr val="tx1"/>
                </a:solidFill>
                <a:latin typeface="SKODA Next" panose="020B0504020603020204" pitchFamily="34" charset="0"/>
                <a:ea typeface="Verdana" pitchFamily="34" charset="0"/>
                <a:cs typeface="Verdana" pitchFamily="34" charset="0"/>
              </a:defRPr>
            </a:lvl1pPr>
          </a:lstStyle>
          <a:p>
            <a:fld id="{1E956721-BB38-4972-8ACD-5A2C9377E3B4}" type="slidenum">
              <a:rPr lang="cs-CZ" smtClean="0"/>
              <a:pPr/>
              <a:t>‹#›</a:t>
            </a:fld>
            <a:endParaRPr lang="cs-CZ" dirty="0"/>
          </a:p>
        </p:txBody>
      </p:sp>
      <p:sp>
        <p:nvSpPr>
          <p:cNvPr id="2" name="Zástupný symbol pro nadpis 1"/>
          <p:cNvSpPr>
            <a:spLocks noGrp="1"/>
          </p:cNvSpPr>
          <p:nvPr>
            <p:ph type="title"/>
          </p:nvPr>
        </p:nvSpPr>
        <p:spPr>
          <a:xfrm>
            <a:off x="342850" y="360287"/>
            <a:ext cx="10006115" cy="431909"/>
          </a:xfrm>
          <a:prstGeom prst="rect">
            <a:avLst/>
          </a:prstGeom>
        </p:spPr>
        <p:txBody>
          <a:bodyPr vert="horz" lIns="0" tIns="0" rIns="0" bIns="0" rtlCol="0" anchor="t" anchorCtr="0">
            <a:noAutofit/>
          </a:bodyPr>
          <a:lstStyle/>
          <a:p>
            <a:r>
              <a:rPr lang="cs-CZ" noProof="0" dirty="0"/>
              <a:t>Nadpis (shrnutí stránky)</a:t>
            </a:r>
          </a:p>
        </p:txBody>
      </p:sp>
      <p:sp>
        <p:nvSpPr>
          <p:cNvPr id="14" name="TextovéPole 13"/>
          <p:cNvSpPr txBox="1"/>
          <p:nvPr userDrawn="1"/>
        </p:nvSpPr>
        <p:spPr>
          <a:xfrm>
            <a:off x="7560000" y="7354800"/>
            <a:ext cx="720000" cy="108000"/>
          </a:xfrm>
          <a:prstGeom prst="rect">
            <a:avLst/>
          </a:prstGeom>
          <a:noFill/>
        </p:spPr>
        <p:txBody>
          <a:bodyPr wrap="square" lIns="0" tIns="0" rIns="0" bIns="0" rtlCol="0" anchor="b" anchorCtr="0">
            <a:normAutofit/>
          </a:bodyPr>
          <a:lstStyle/>
          <a:p>
            <a:pPr algn="r"/>
            <a:r>
              <a:rPr lang="en-GB" sz="700" noProof="0" dirty="0">
                <a:latin typeface="SKODA Next" panose="020B0504020603020204" pitchFamily="34" charset="0"/>
                <a:cs typeface="Arial" panose="020B0604020202020204" pitchFamily="34" charset="0"/>
              </a:rPr>
              <a:t>CONFIDENTIAL</a:t>
            </a:r>
          </a:p>
        </p:txBody>
      </p:sp>
    </p:spTree>
    <p:extLst>
      <p:ext uri="{BB962C8B-B14F-4D97-AF65-F5344CB8AC3E}">
        <p14:creationId xmlns:p14="http://schemas.microsoft.com/office/powerpoint/2010/main" val="1541384410"/>
      </p:ext>
    </p:extLst>
  </p:cSld>
  <p:clrMap bg1="lt1" tx1="dk1" bg2="lt2" tx2="dk2" accent1="accent1" accent2="accent2" accent3="accent3" accent4="accent4" accent5="accent5" accent6="accent6" hlink="hlink" folHlink="folHlink"/>
  <p:sldLayoutIdLst>
    <p:sldLayoutId id="2147483694" r:id="rId1"/>
    <p:sldLayoutId id="2147483738"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Lst>
  <p:hf hdr="0" ftr="0" dt="0"/>
  <p:txStyles>
    <p:titleStyle>
      <a:lvl1pPr algn="l" defTabSz="1043056" rtl="0" eaLnBrk="1" latinLnBrk="0" hangingPunct="1">
        <a:lnSpc>
          <a:spcPts val="3200"/>
        </a:lnSpc>
        <a:spcBef>
          <a:spcPct val="0"/>
        </a:spcBef>
        <a:buNone/>
        <a:defRPr sz="2800" b="1" kern="1200">
          <a:solidFill>
            <a:schemeClr val="tx1"/>
          </a:solidFill>
          <a:latin typeface="SKODA Next" panose="020B0504020603020204" pitchFamily="34" charset="0"/>
          <a:ea typeface="Verdana" pitchFamily="34" charset="0"/>
          <a:cs typeface="Verdana" pitchFamily="34" charset="0"/>
        </a:defRPr>
      </a:lvl1pPr>
    </p:titleStyle>
    <p:bodyStyle>
      <a:lvl1pPr marL="18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1pPr>
      <a:lvl2pPr marL="36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2pPr>
      <a:lvl3pPr marL="54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3pPr>
      <a:lvl4pPr marL="72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4pPr>
      <a:lvl5pPr marL="90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7"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cs-CZ"/>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39"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7" userDrawn="1">
          <p15:clr>
            <a:srgbClr val="F26B43"/>
          </p15:clr>
        </p15:guide>
        <p15:guide id="2" pos="3255" userDrawn="1">
          <p15:clr>
            <a:srgbClr val="F26B43"/>
          </p15:clr>
        </p15:guide>
        <p15:guide id="3" pos="2393" userDrawn="1">
          <p15:clr>
            <a:srgbClr val="F26B43"/>
          </p15:clr>
        </p15:guide>
        <p15:guide id="4" pos="2166" userDrawn="1">
          <p15:clr>
            <a:srgbClr val="F26B43"/>
          </p15:clr>
        </p15:guide>
        <p15:guide id="5" pos="1304" userDrawn="1">
          <p15:clr>
            <a:srgbClr val="F26B43"/>
          </p15:clr>
        </p15:guide>
        <p15:guide id="6" pos="1077" userDrawn="1">
          <p15:clr>
            <a:srgbClr val="F26B43"/>
          </p15:clr>
        </p15:guide>
        <p15:guide id="7" pos="216" userDrawn="1">
          <p15:clr>
            <a:srgbClr val="F26B43"/>
          </p15:clr>
        </p15:guide>
        <p15:guide id="8" pos="3480" userDrawn="1">
          <p15:clr>
            <a:srgbClr val="F26B43"/>
          </p15:clr>
        </p15:guide>
        <p15:guide id="9" pos="4342" userDrawn="1">
          <p15:clr>
            <a:srgbClr val="F26B43"/>
          </p15:clr>
        </p15:guide>
        <p15:guide id="10" pos="4569" userDrawn="1">
          <p15:clr>
            <a:srgbClr val="F26B43"/>
          </p15:clr>
        </p15:guide>
        <p15:guide id="11" pos="5431" userDrawn="1">
          <p15:clr>
            <a:srgbClr val="F26B43"/>
          </p15:clr>
        </p15:guide>
        <p15:guide id="12" pos="5658" userDrawn="1">
          <p15:clr>
            <a:srgbClr val="F26B43"/>
          </p15:clr>
        </p15:guide>
        <p15:guide id="13" pos="6519" userDrawn="1">
          <p15:clr>
            <a:srgbClr val="F26B43"/>
          </p15:clr>
        </p15:guide>
        <p15:guide id="14" orient="horz" pos="907" userDrawn="1">
          <p15:clr>
            <a:srgbClr val="F26B43"/>
          </p15:clr>
        </p15:guide>
        <p15:guide id="15" orient="horz" pos="4172" userDrawn="1">
          <p15:clr>
            <a:srgbClr val="F26B43"/>
          </p15:clr>
        </p15:guide>
        <p15:guide id="16" orient="horz" pos="2471" userDrawn="1">
          <p15:clr>
            <a:srgbClr val="F26B43"/>
          </p15:clr>
        </p15:guide>
        <p15:guide id="17" orient="horz" pos="260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3" name="Skupina 12"/>
          <p:cNvGrpSpPr/>
          <p:nvPr userDrawn="1"/>
        </p:nvGrpSpPr>
        <p:grpSpPr>
          <a:xfrm>
            <a:off x="0" y="6961281"/>
            <a:ext cx="10693400" cy="599982"/>
            <a:chOff x="0" y="6961281"/>
            <a:chExt cx="10693400" cy="599982"/>
          </a:xfrm>
        </p:grpSpPr>
        <p:pic>
          <p:nvPicPr>
            <p:cNvPr id="20" name="Obrázek 19"/>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623721" y="7084105"/>
              <a:ext cx="1726779" cy="360000"/>
            </a:xfrm>
            <a:prstGeom prst="rect">
              <a:avLst/>
            </a:prstGeom>
          </p:spPr>
        </p:pic>
        <p:sp>
          <p:nvSpPr>
            <p:cNvPr id="21" name="Volný tvar 20"/>
            <p:cNvSpPr/>
            <p:nvPr userDrawn="1"/>
          </p:nvSpPr>
          <p:spPr>
            <a:xfrm>
              <a:off x="0" y="6961281"/>
              <a:ext cx="8444706" cy="599334"/>
            </a:xfrm>
            <a:custGeom>
              <a:avLst/>
              <a:gdLst>
                <a:gd name="connsiteX0" fmla="*/ 8186468 w 8186468"/>
                <a:gd name="connsiteY0" fmla="*/ 603849 h 603849"/>
                <a:gd name="connsiteX1" fmla="*/ 7962181 w 8186468"/>
                <a:gd name="connsiteY1" fmla="*/ 172528 h 603849"/>
                <a:gd name="connsiteX2" fmla="*/ 8074325 w 8186468"/>
                <a:gd name="connsiteY2" fmla="*/ 0 h 603849"/>
                <a:gd name="connsiteX3" fmla="*/ 112143 w 8186468"/>
                <a:gd name="connsiteY3" fmla="*/ 8626 h 603849"/>
                <a:gd name="connsiteX4" fmla="*/ 0 w 8186468"/>
                <a:gd name="connsiteY4" fmla="*/ 138023 h 603849"/>
                <a:gd name="connsiteX5" fmla="*/ 241540 w 8186468"/>
                <a:gd name="connsiteY5" fmla="*/ 603849 h 603849"/>
                <a:gd name="connsiteX6" fmla="*/ 8186468 w 8186468"/>
                <a:gd name="connsiteY6" fmla="*/ 603849 h 603849"/>
                <a:gd name="connsiteX0" fmla="*/ 8074325 w 8074325"/>
                <a:gd name="connsiteY0" fmla="*/ 603849 h 603849"/>
                <a:gd name="connsiteX1" fmla="*/ 7850038 w 8074325"/>
                <a:gd name="connsiteY1" fmla="*/ 172528 h 603849"/>
                <a:gd name="connsiteX2" fmla="*/ 7962182 w 8074325"/>
                <a:gd name="connsiteY2" fmla="*/ 0 h 603849"/>
                <a:gd name="connsiteX3" fmla="*/ 0 w 8074325"/>
                <a:gd name="connsiteY3" fmla="*/ 8626 h 603849"/>
                <a:gd name="connsiteX4" fmla="*/ 129397 w 8074325"/>
                <a:gd name="connsiteY4" fmla="*/ 603849 h 603849"/>
                <a:gd name="connsiteX5" fmla="*/ 8074325 w 8074325"/>
                <a:gd name="connsiteY5" fmla="*/ 603849 h 603849"/>
                <a:gd name="connsiteX0" fmla="*/ 8417032 w 8417032"/>
                <a:gd name="connsiteY0" fmla="*/ 603849 h 603849"/>
                <a:gd name="connsiteX1" fmla="*/ 8192745 w 8417032"/>
                <a:gd name="connsiteY1" fmla="*/ 172528 h 603849"/>
                <a:gd name="connsiteX2" fmla="*/ 8304889 w 8417032"/>
                <a:gd name="connsiteY2" fmla="*/ 0 h 603849"/>
                <a:gd name="connsiteX3" fmla="*/ 342707 w 8417032"/>
                <a:gd name="connsiteY3" fmla="*/ 8626 h 603849"/>
                <a:gd name="connsiteX4" fmla="*/ 0 w 8417032"/>
                <a:gd name="connsiteY4" fmla="*/ 601591 h 603849"/>
                <a:gd name="connsiteX5" fmla="*/ 8417032 w 8417032"/>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1591 h 603849"/>
                <a:gd name="connsiteX5" fmla="*/ 8417269 w 8417269"/>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3849 h 603849"/>
                <a:gd name="connsiteX5" fmla="*/ 8417269 w 8417269"/>
                <a:gd name="connsiteY5" fmla="*/ 603849 h 603849"/>
                <a:gd name="connsiteX0" fmla="*/ 8491108 w 8491108"/>
                <a:gd name="connsiteY0" fmla="*/ 603849 h 603849"/>
                <a:gd name="connsiteX1" fmla="*/ 8192982 w 8491108"/>
                <a:gd name="connsiteY1" fmla="*/ 172528 h 603849"/>
                <a:gd name="connsiteX2" fmla="*/ 8305126 w 8491108"/>
                <a:gd name="connsiteY2" fmla="*/ 0 h 603849"/>
                <a:gd name="connsiteX3" fmla="*/ 0 w 8491108"/>
                <a:gd name="connsiteY3" fmla="*/ 8626 h 603849"/>
                <a:gd name="connsiteX4" fmla="*/ 237 w 8491108"/>
                <a:gd name="connsiteY4" fmla="*/ 603849 h 603849"/>
                <a:gd name="connsiteX5" fmla="*/ 8491108 w 8491108"/>
                <a:gd name="connsiteY5" fmla="*/ 603849 h 603849"/>
                <a:gd name="connsiteX0" fmla="*/ 8491108 w 8491108"/>
                <a:gd name="connsiteY0" fmla="*/ 595828 h 595828"/>
                <a:gd name="connsiteX1" fmla="*/ 8192982 w 8491108"/>
                <a:gd name="connsiteY1" fmla="*/ 164507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5828 h 595828"/>
                <a:gd name="connsiteX1" fmla="*/ 8335388 w 8491108"/>
                <a:gd name="connsiteY1" fmla="*/ 239370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7306 h 597306"/>
                <a:gd name="connsiteX1" fmla="*/ 8335388 w 8491108"/>
                <a:gd name="connsiteY1" fmla="*/ 240848 h 597306"/>
                <a:gd name="connsiteX2" fmla="*/ 8455442 w 8491108"/>
                <a:gd name="connsiteY2" fmla="*/ 1478 h 597306"/>
                <a:gd name="connsiteX3" fmla="*/ 0 w 8491108"/>
                <a:gd name="connsiteY3" fmla="*/ 0 h 597306"/>
                <a:gd name="connsiteX4" fmla="*/ 237 w 8491108"/>
                <a:gd name="connsiteY4" fmla="*/ 597306 h 597306"/>
                <a:gd name="connsiteX5" fmla="*/ 8491108 w 8491108"/>
                <a:gd name="connsiteY5" fmla="*/ 597306 h 597306"/>
                <a:gd name="connsiteX0" fmla="*/ 8490871 w 8490871"/>
                <a:gd name="connsiteY0" fmla="*/ 599334 h 599334"/>
                <a:gd name="connsiteX1" fmla="*/ 8335151 w 8490871"/>
                <a:gd name="connsiteY1" fmla="*/ 242876 h 599334"/>
                <a:gd name="connsiteX2" fmla="*/ 8455205 w 8490871"/>
                <a:gd name="connsiteY2" fmla="*/ 3506 h 599334"/>
                <a:gd name="connsiteX3" fmla="*/ 159745 w 8490871"/>
                <a:gd name="connsiteY3" fmla="*/ 0 h 599334"/>
                <a:gd name="connsiteX4" fmla="*/ 0 w 8490871"/>
                <a:gd name="connsiteY4" fmla="*/ 599334 h 599334"/>
                <a:gd name="connsiteX5" fmla="*/ 8490871 w 8490871"/>
                <a:gd name="connsiteY5" fmla="*/ 599334 h 599334"/>
                <a:gd name="connsiteX0" fmla="*/ 8331126 w 8331126"/>
                <a:gd name="connsiteY0" fmla="*/ 599334 h 599334"/>
                <a:gd name="connsiteX1" fmla="*/ 8175406 w 8331126"/>
                <a:gd name="connsiteY1" fmla="*/ 242876 h 599334"/>
                <a:gd name="connsiteX2" fmla="*/ 8295460 w 8331126"/>
                <a:gd name="connsiteY2" fmla="*/ 3506 h 599334"/>
                <a:gd name="connsiteX3" fmla="*/ 0 w 8331126"/>
                <a:gd name="connsiteY3" fmla="*/ 0 h 599334"/>
                <a:gd name="connsiteX4" fmla="*/ 12236 w 8331126"/>
                <a:gd name="connsiteY4" fmla="*/ 599334 h 599334"/>
                <a:gd name="connsiteX5" fmla="*/ 8331126 w 8331126"/>
                <a:gd name="connsiteY5" fmla="*/ 599334 h 599334"/>
                <a:gd name="connsiteX0" fmla="*/ 8331126 w 8331126"/>
                <a:gd name="connsiteY0" fmla="*/ 599334 h 599334"/>
                <a:gd name="connsiteX1" fmla="*/ 8175406 w 8331126"/>
                <a:gd name="connsiteY1" fmla="*/ 242876 h 599334"/>
                <a:gd name="connsiteX2" fmla="*/ 8295460 w 8331126"/>
                <a:gd name="connsiteY2" fmla="*/ 3506 h 599334"/>
                <a:gd name="connsiteX3" fmla="*/ 0 w 8331126"/>
                <a:gd name="connsiteY3" fmla="*/ 0 h 599334"/>
                <a:gd name="connsiteX4" fmla="*/ 2842 w 8331126"/>
                <a:gd name="connsiteY4" fmla="*/ 599334 h 599334"/>
                <a:gd name="connsiteX5" fmla="*/ 8331126 w 8331126"/>
                <a:gd name="connsiteY5" fmla="*/ 599334 h 599334"/>
                <a:gd name="connsiteX0" fmla="*/ 8328482 w 8328482"/>
                <a:gd name="connsiteY0" fmla="*/ 599334 h 599334"/>
                <a:gd name="connsiteX1" fmla="*/ 8172762 w 8328482"/>
                <a:gd name="connsiteY1" fmla="*/ 242876 h 599334"/>
                <a:gd name="connsiteX2" fmla="*/ 8292816 w 8328482"/>
                <a:gd name="connsiteY2" fmla="*/ 3506 h 599334"/>
                <a:gd name="connsiteX3" fmla="*/ 1114 w 8328482"/>
                <a:gd name="connsiteY3" fmla="*/ 0 h 599334"/>
                <a:gd name="connsiteX4" fmla="*/ 198 w 8328482"/>
                <a:gd name="connsiteY4" fmla="*/ 599334 h 599334"/>
                <a:gd name="connsiteX5" fmla="*/ 8328482 w 8328482"/>
                <a:gd name="connsiteY5" fmla="*/ 599334 h 599334"/>
                <a:gd name="connsiteX0" fmla="*/ 8329247 w 8329247"/>
                <a:gd name="connsiteY0" fmla="*/ 599334 h 599334"/>
                <a:gd name="connsiteX1" fmla="*/ 8173527 w 8329247"/>
                <a:gd name="connsiteY1" fmla="*/ 242876 h 599334"/>
                <a:gd name="connsiteX2" fmla="*/ 8293581 w 8329247"/>
                <a:gd name="connsiteY2" fmla="*/ 3506 h 599334"/>
                <a:gd name="connsiteX3" fmla="*/ 0 w 8329247"/>
                <a:gd name="connsiteY3" fmla="*/ 0 h 599334"/>
                <a:gd name="connsiteX4" fmla="*/ 963 w 8329247"/>
                <a:gd name="connsiteY4" fmla="*/ 599334 h 599334"/>
                <a:gd name="connsiteX5" fmla="*/ 8329247 w 8329247"/>
                <a:gd name="connsiteY5" fmla="*/ 599334 h 599334"/>
                <a:gd name="connsiteX0" fmla="*/ 8328325 w 8328325"/>
                <a:gd name="connsiteY0" fmla="*/ 599334 h 599334"/>
                <a:gd name="connsiteX1" fmla="*/ 8172605 w 8328325"/>
                <a:gd name="connsiteY1" fmla="*/ 242876 h 599334"/>
                <a:gd name="connsiteX2" fmla="*/ 8292659 w 8328325"/>
                <a:gd name="connsiteY2" fmla="*/ 3506 h 599334"/>
                <a:gd name="connsiteX3" fmla="*/ 14110 w 8328325"/>
                <a:gd name="connsiteY3" fmla="*/ 0 h 599334"/>
                <a:gd name="connsiteX4" fmla="*/ 41 w 8328325"/>
                <a:gd name="connsiteY4" fmla="*/ 599334 h 599334"/>
                <a:gd name="connsiteX5" fmla="*/ 8328325 w 8328325"/>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21630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2841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2841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30206 w 8330206"/>
                <a:gd name="connsiteY0" fmla="*/ 599334 h 599334"/>
                <a:gd name="connsiteX1" fmla="*/ 8174486 w 8330206"/>
                <a:gd name="connsiteY1" fmla="*/ 242876 h 599334"/>
                <a:gd name="connsiteX2" fmla="*/ 8294540 w 8330206"/>
                <a:gd name="connsiteY2" fmla="*/ 3506 h 599334"/>
                <a:gd name="connsiteX3" fmla="*/ 960 w 8330206"/>
                <a:gd name="connsiteY3" fmla="*/ 0 h 599334"/>
                <a:gd name="connsiteX4" fmla="*/ 43 w 8330206"/>
                <a:gd name="connsiteY4" fmla="*/ 599334 h 599334"/>
                <a:gd name="connsiteX5" fmla="*/ 8330206 w 8330206"/>
                <a:gd name="connsiteY5" fmla="*/ 599334 h 599334"/>
                <a:gd name="connsiteX0" fmla="*/ 8331125 w 8331125"/>
                <a:gd name="connsiteY0" fmla="*/ 599334 h 599334"/>
                <a:gd name="connsiteX1" fmla="*/ 8175405 w 8331125"/>
                <a:gd name="connsiteY1" fmla="*/ 242876 h 599334"/>
                <a:gd name="connsiteX2" fmla="*/ 8295459 w 8331125"/>
                <a:gd name="connsiteY2" fmla="*/ 3506 h 599334"/>
                <a:gd name="connsiteX3" fmla="*/ 0 w 8331125"/>
                <a:gd name="connsiteY3" fmla="*/ 0 h 599334"/>
                <a:gd name="connsiteX4" fmla="*/ 962 w 8331125"/>
                <a:gd name="connsiteY4" fmla="*/ 599334 h 599334"/>
                <a:gd name="connsiteX5" fmla="*/ 8331125 w 8331125"/>
                <a:gd name="connsiteY5" fmla="*/ 599334 h 599334"/>
                <a:gd name="connsiteX0" fmla="*/ 8330185 w 8330185"/>
                <a:gd name="connsiteY0" fmla="*/ 599334 h 599334"/>
                <a:gd name="connsiteX1" fmla="*/ 8174465 w 8330185"/>
                <a:gd name="connsiteY1" fmla="*/ 242876 h 599334"/>
                <a:gd name="connsiteX2" fmla="*/ 8294519 w 8330185"/>
                <a:gd name="connsiteY2" fmla="*/ 3506 h 599334"/>
                <a:gd name="connsiteX3" fmla="*/ 2818 w 8330185"/>
                <a:gd name="connsiteY3" fmla="*/ 0 h 599334"/>
                <a:gd name="connsiteX4" fmla="*/ 22 w 8330185"/>
                <a:gd name="connsiteY4" fmla="*/ 599334 h 599334"/>
                <a:gd name="connsiteX5" fmla="*/ 8330185 w 8330185"/>
                <a:gd name="connsiteY5" fmla="*/ 599334 h 599334"/>
                <a:gd name="connsiteX0" fmla="*/ 8328328 w 8328328"/>
                <a:gd name="connsiteY0" fmla="*/ 599334 h 599334"/>
                <a:gd name="connsiteX1" fmla="*/ 8172608 w 8328328"/>
                <a:gd name="connsiteY1" fmla="*/ 242876 h 599334"/>
                <a:gd name="connsiteX2" fmla="*/ 8292662 w 8328328"/>
                <a:gd name="connsiteY2" fmla="*/ 3506 h 599334"/>
                <a:gd name="connsiteX3" fmla="*/ 961 w 8328328"/>
                <a:gd name="connsiteY3" fmla="*/ 0 h 599334"/>
                <a:gd name="connsiteX4" fmla="*/ 44 w 8328328"/>
                <a:gd name="connsiteY4" fmla="*/ 599334 h 599334"/>
                <a:gd name="connsiteX5" fmla="*/ 8328328 w 8328328"/>
                <a:gd name="connsiteY5" fmla="*/ 599334 h 599334"/>
                <a:gd name="connsiteX0" fmla="*/ 8327367 w 8327367"/>
                <a:gd name="connsiteY0" fmla="*/ 599334 h 599334"/>
                <a:gd name="connsiteX1" fmla="*/ 8171647 w 8327367"/>
                <a:gd name="connsiteY1" fmla="*/ 242876 h 599334"/>
                <a:gd name="connsiteX2" fmla="*/ 8291701 w 8327367"/>
                <a:gd name="connsiteY2" fmla="*/ 3506 h 599334"/>
                <a:gd name="connsiteX3" fmla="*/ 0 w 8327367"/>
                <a:gd name="connsiteY3" fmla="*/ 0 h 599334"/>
                <a:gd name="connsiteX4" fmla="*/ 962 w 8327367"/>
                <a:gd name="connsiteY4" fmla="*/ 599334 h 599334"/>
                <a:gd name="connsiteX5" fmla="*/ 8327367 w 8327367"/>
                <a:gd name="connsiteY5" fmla="*/ 599334 h 599334"/>
                <a:gd name="connsiteX0" fmla="*/ 8328327 w 8328327"/>
                <a:gd name="connsiteY0" fmla="*/ 599334 h 599334"/>
                <a:gd name="connsiteX1" fmla="*/ 8172607 w 8328327"/>
                <a:gd name="connsiteY1" fmla="*/ 242876 h 599334"/>
                <a:gd name="connsiteX2" fmla="*/ 8292661 w 8328327"/>
                <a:gd name="connsiteY2" fmla="*/ 3506 h 599334"/>
                <a:gd name="connsiteX3" fmla="*/ 960 w 8328327"/>
                <a:gd name="connsiteY3" fmla="*/ 0 h 599334"/>
                <a:gd name="connsiteX4" fmla="*/ 43 w 8328327"/>
                <a:gd name="connsiteY4" fmla="*/ 599334 h 599334"/>
                <a:gd name="connsiteX5" fmla="*/ 8328327 w 8328327"/>
                <a:gd name="connsiteY5" fmla="*/ 599334 h 599334"/>
                <a:gd name="connsiteX0" fmla="*/ 8328285 w 8328285"/>
                <a:gd name="connsiteY0" fmla="*/ 599334 h 599334"/>
                <a:gd name="connsiteX1" fmla="*/ 8172565 w 8328285"/>
                <a:gd name="connsiteY1" fmla="*/ 242876 h 599334"/>
                <a:gd name="connsiteX2" fmla="*/ 8292619 w 8328285"/>
                <a:gd name="connsiteY2" fmla="*/ 3506 h 599334"/>
                <a:gd name="connsiteX3" fmla="*/ 341008 w 8328285"/>
                <a:gd name="connsiteY3" fmla="*/ 0 h 599334"/>
                <a:gd name="connsiteX4" fmla="*/ 1 w 8328285"/>
                <a:gd name="connsiteY4" fmla="*/ 599334 h 599334"/>
                <a:gd name="connsiteX5" fmla="*/ 8328285 w 8328285"/>
                <a:gd name="connsiteY5" fmla="*/ 599334 h 599334"/>
                <a:gd name="connsiteX0" fmla="*/ 7990094 w 7990094"/>
                <a:gd name="connsiteY0" fmla="*/ 599334 h 601239"/>
                <a:gd name="connsiteX1" fmla="*/ 7834374 w 7990094"/>
                <a:gd name="connsiteY1" fmla="*/ 242876 h 601239"/>
                <a:gd name="connsiteX2" fmla="*/ 7954428 w 7990094"/>
                <a:gd name="connsiteY2" fmla="*/ 3506 h 601239"/>
                <a:gd name="connsiteX3" fmla="*/ 2817 w 7990094"/>
                <a:gd name="connsiteY3" fmla="*/ 0 h 601239"/>
                <a:gd name="connsiteX4" fmla="*/ 22 w 7990094"/>
                <a:gd name="connsiteY4" fmla="*/ 601239 h 601239"/>
                <a:gd name="connsiteX5" fmla="*/ 7990094 w 7990094"/>
                <a:gd name="connsiteY5" fmla="*/ 599334 h 601239"/>
                <a:gd name="connsiteX0" fmla="*/ 8328284 w 8328284"/>
                <a:gd name="connsiteY0" fmla="*/ 599334 h 599334"/>
                <a:gd name="connsiteX1" fmla="*/ 8172564 w 8328284"/>
                <a:gd name="connsiteY1" fmla="*/ 242876 h 599334"/>
                <a:gd name="connsiteX2" fmla="*/ 8292618 w 8328284"/>
                <a:gd name="connsiteY2" fmla="*/ 3506 h 599334"/>
                <a:gd name="connsiteX3" fmla="*/ 341007 w 8328284"/>
                <a:gd name="connsiteY3" fmla="*/ 0 h 599334"/>
                <a:gd name="connsiteX4" fmla="*/ 0 w 8328284"/>
                <a:gd name="connsiteY4" fmla="*/ 597429 h 599334"/>
                <a:gd name="connsiteX5" fmla="*/ 8328284 w 8328284"/>
                <a:gd name="connsiteY5" fmla="*/ 599334 h 599334"/>
                <a:gd name="connsiteX0" fmla="*/ 8328284 w 8328284"/>
                <a:gd name="connsiteY0" fmla="*/ 599334 h 599334"/>
                <a:gd name="connsiteX1" fmla="*/ 8172564 w 8328284"/>
                <a:gd name="connsiteY1" fmla="*/ 242876 h 599334"/>
                <a:gd name="connsiteX2" fmla="*/ 8292618 w 8328284"/>
                <a:gd name="connsiteY2" fmla="*/ 3506 h 599334"/>
                <a:gd name="connsiteX3" fmla="*/ 341007 w 8328284"/>
                <a:gd name="connsiteY3" fmla="*/ 0 h 599334"/>
                <a:gd name="connsiteX4" fmla="*/ 0 w 8328284"/>
                <a:gd name="connsiteY4" fmla="*/ 599334 h 599334"/>
                <a:gd name="connsiteX5" fmla="*/ 8328284 w 8328284"/>
                <a:gd name="connsiteY5" fmla="*/ 599334 h 599334"/>
                <a:gd name="connsiteX0" fmla="*/ 8329247 w 8329247"/>
                <a:gd name="connsiteY0" fmla="*/ 599334 h 599334"/>
                <a:gd name="connsiteX1" fmla="*/ 8173527 w 8329247"/>
                <a:gd name="connsiteY1" fmla="*/ 242876 h 599334"/>
                <a:gd name="connsiteX2" fmla="*/ 8293581 w 8329247"/>
                <a:gd name="connsiteY2" fmla="*/ 3506 h 599334"/>
                <a:gd name="connsiteX3" fmla="*/ 0 w 8329247"/>
                <a:gd name="connsiteY3" fmla="*/ 0 h 599334"/>
                <a:gd name="connsiteX4" fmla="*/ 963 w 8329247"/>
                <a:gd name="connsiteY4" fmla="*/ 599334 h 599334"/>
                <a:gd name="connsiteX5" fmla="*/ 8329247 w 8329247"/>
                <a:gd name="connsiteY5" fmla="*/ 599334 h 59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29247" h="599334">
                  <a:moveTo>
                    <a:pt x="8329247" y="599334"/>
                  </a:moveTo>
                  <a:lnTo>
                    <a:pt x="8173527" y="242876"/>
                  </a:lnTo>
                  <a:lnTo>
                    <a:pt x="8293581" y="3506"/>
                  </a:lnTo>
                  <a:lnTo>
                    <a:pt x="0" y="0"/>
                  </a:lnTo>
                  <a:lnTo>
                    <a:pt x="963" y="599334"/>
                  </a:lnTo>
                  <a:lnTo>
                    <a:pt x="8329247" y="599334"/>
                  </a:lnTo>
                  <a:close/>
                </a:path>
              </a:pathLst>
            </a:cu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noProof="0" dirty="0"/>
            </a:p>
          </p:txBody>
        </p:sp>
        <p:sp>
          <p:nvSpPr>
            <p:cNvPr id="22" name="Volný tvar 21"/>
            <p:cNvSpPr/>
            <p:nvPr userDrawn="1"/>
          </p:nvSpPr>
          <p:spPr>
            <a:xfrm>
              <a:off x="1907202" y="7204157"/>
              <a:ext cx="6537502" cy="357106"/>
            </a:xfrm>
            <a:custGeom>
              <a:avLst/>
              <a:gdLst>
                <a:gd name="connsiteX0" fmla="*/ 8186468 w 8186468"/>
                <a:gd name="connsiteY0" fmla="*/ 603849 h 603849"/>
                <a:gd name="connsiteX1" fmla="*/ 7962181 w 8186468"/>
                <a:gd name="connsiteY1" fmla="*/ 172528 h 603849"/>
                <a:gd name="connsiteX2" fmla="*/ 8074325 w 8186468"/>
                <a:gd name="connsiteY2" fmla="*/ 0 h 603849"/>
                <a:gd name="connsiteX3" fmla="*/ 112143 w 8186468"/>
                <a:gd name="connsiteY3" fmla="*/ 8626 h 603849"/>
                <a:gd name="connsiteX4" fmla="*/ 0 w 8186468"/>
                <a:gd name="connsiteY4" fmla="*/ 138023 h 603849"/>
                <a:gd name="connsiteX5" fmla="*/ 241540 w 8186468"/>
                <a:gd name="connsiteY5" fmla="*/ 603849 h 603849"/>
                <a:gd name="connsiteX6" fmla="*/ 8186468 w 8186468"/>
                <a:gd name="connsiteY6" fmla="*/ 603849 h 603849"/>
                <a:gd name="connsiteX0" fmla="*/ 8074325 w 8074325"/>
                <a:gd name="connsiteY0" fmla="*/ 603849 h 603849"/>
                <a:gd name="connsiteX1" fmla="*/ 7850038 w 8074325"/>
                <a:gd name="connsiteY1" fmla="*/ 172528 h 603849"/>
                <a:gd name="connsiteX2" fmla="*/ 7962182 w 8074325"/>
                <a:gd name="connsiteY2" fmla="*/ 0 h 603849"/>
                <a:gd name="connsiteX3" fmla="*/ 0 w 8074325"/>
                <a:gd name="connsiteY3" fmla="*/ 8626 h 603849"/>
                <a:gd name="connsiteX4" fmla="*/ 129397 w 8074325"/>
                <a:gd name="connsiteY4" fmla="*/ 603849 h 603849"/>
                <a:gd name="connsiteX5" fmla="*/ 8074325 w 8074325"/>
                <a:gd name="connsiteY5" fmla="*/ 603849 h 603849"/>
                <a:gd name="connsiteX0" fmla="*/ 8417032 w 8417032"/>
                <a:gd name="connsiteY0" fmla="*/ 603849 h 603849"/>
                <a:gd name="connsiteX1" fmla="*/ 8192745 w 8417032"/>
                <a:gd name="connsiteY1" fmla="*/ 172528 h 603849"/>
                <a:gd name="connsiteX2" fmla="*/ 8304889 w 8417032"/>
                <a:gd name="connsiteY2" fmla="*/ 0 h 603849"/>
                <a:gd name="connsiteX3" fmla="*/ 342707 w 8417032"/>
                <a:gd name="connsiteY3" fmla="*/ 8626 h 603849"/>
                <a:gd name="connsiteX4" fmla="*/ 0 w 8417032"/>
                <a:gd name="connsiteY4" fmla="*/ 601591 h 603849"/>
                <a:gd name="connsiteX5" fmla="*/ 8417032 w 8417032"/>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1591 h 603849"/>
                <a:gd name="connsiteX5" fmla="*/ 8417269 w 8417269"/>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3849 h 603849"/>
                <a:gd name="connsiteX5" fmla="*/ 8417269 w 8417269"/>
                <a:gd name="connsiteY5" fmla="*/ 603849 h 603849"/>
                <a:gd name="connsiteX0" fmla="*/ 8491108 w 8491108"/>
                <a:gd name="connsiteY0" fmla="*/ 603849 h 603849"/>
                <a:gd name="connsiteX1" fmla="*/ 8192982 w 8491108"/>
                <a:gd name="connsiteY1" fmla="*/ 172528 h 603849"/>
                <a:gd name="connsiteX2" fmla="*/ 8305126 w 8491108"/>
                <a:gd name="connsiteY2" fmla="*/ 0 h 603849"/>
                <a:gd name="connsiteX3" fmla="*/ 0 w 8491108"/>
                <a:gd name="connsiteY3" fmla="*/ 8626 h 603849"/>
                <a:gd name="connsiteX4" fmla="*/ 237 w 8491108"/>
                <a:gd name="connsiteY4" fmla="*/ 603849 h 603849"/>
                <a:gd name="connsiteX5" fmla="*/ 8491108 w 8491108"/>
                <a:gd name="connsiteY5" fmla="*/ 603849 h 603849"/>
                <a:gd name="connsiteX0" fmla="*/ 8491108 w 8491108"/>
                <a:gd name="connsiteY0" fmla="*/ 595828 h 595828"/>
                <a:gd name="connsiteX1" fmla="*/ 8192982 w 8491108"/>
                <a:gd name="connsiteY1" fmla="*/ 164507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5828 h 595828"/>
                <a:gd name="connsiteX1" fmla="*/ 8335388 w 8491108"/>
                <a:gd name="connsiteY1" fmla="*/ 239370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7306 h 597306"/>
                <a:gd name="connsiteX1" fmla="*/ 8335388 w 8491108"/>
                <a:gd name="connsiteY1" fmla="*/ 240848 h 597306"/>
                <a:gd name="connsiteX2" fmla="*/ 8455442 w 8491108"/>
                <a:gd name="connsiteY2" fmla="*/ 1478 h 597306"/>
                <a:gd name="connsiteX3" fmla="*/ 0 w 8491108"/>
                <a:gd name="connsiteY3" fmla="*/ 0 h 597306"/>
                <a:gd name="connsiteX4" fmla="*/ 237 w 8491108"/>
                <a:gd name="connsiteY4" fmla="*/ 597306 h 597306"/>
                <a:gd name="connsiteX5" fmla="*/ 8491108 w 8491108"/>
                <a:gd name="connsiteY5" fmla="*/ 597306 h 597306"/>
                <a:gd name="connsiteX0" fmla="*/ 8491108 w 8491108"/>
                <a:gd name="connsiteY0" fmla="*/ 597306 h 597306"/>
                <a:gd name="connsiteX1" fmla="*/ 8335388 w 8491108"/>
                <a:gd name="connsiteY1" fmla="*/ 240848 h 597306"/>
                <a:gd name="connsiteX2" fmla="*/ 2033595 w 8491108"/>
                <a:gd name="connsiteY2" fmla="*/ 594144 h 597306"/>
                <a:gd name="connsiteX3" fmla="*/ 0 w 8491108"/>
                <a:gd name="connsiteY3" fmla="*/ 0 h 597306"/>
                <a:gd name="connsiteX4" fmla="*/ 237 w 8491108"/>
                <a:gd name="connsiteY4" fmla="*/ 597306 h 597306"/>
                <a:gd name="connsiteX5" fmla="*/ 8491108 w 8491108"/>
                <a:gd name="connsiteY5" fmla="*/ 597306 h 597306"/>
                <a:gd name="connsiteX0" fmla="*/ 8490871 w 8490871"/>
                <a:gd name="connsiteY0" fmla="*/ 356458 h 356458"/>
                <a:gd name="connsiteX1" fmla="*/ 8335151 w 8490871"/>
                <a:gd name="connsiteY1" fmla="*/ 0 h 356458"/>
                <a:gd name="connsiteX2" fmla="*/ 2033358 w 8490871"/>
                <a:gd name="connsiteY2" fmla="*/ 353296 h 356458"/>
                <a:gd name="connsiteX3" fmla="*/ 0 w 8490871"/>
                <a:gd name="connsiteY3" fmla="*/ 356458 h 356458"/>
                <a:gd name="connsiteX4" fmla="*/ 8490871 w 8490871"/>
                <a:gd name="connsiteY4" fmla="*/ 356458 h 356458"/>
                <a:gd name="connsiteX0" fmla="*/ 6457513 w 6457513"/>
                <a:gd name="connsiteY0" fmla="*/ 356458 h 356458"/>
                <a:gd name="connsiteX1" fmla="*/ 6301793 w 6457513"/>
                <a:gd name="connsiteY1" fmla="*/ 0 h 356458"/>
                <a:gd name="connsiteX2" fmla="*/ 0 w 6457513"/>
                <a:gd name="connsiteY2" fmla="*/ 353296 h 356458"/>
                <a:gd name="connsiteX3" fmla="*/ 6457513 w 6457513"/>
                <a:gd name="connsiteY3" fmla="*/ 356458 h 356458"/>
                <a:gd name="connsiteX0" fmla="*/ 6448118 w 6448118"/>
                <a:gd name="connsiteY0" fmla="*/ 356458 h 357106"/>
                <a:gd name="connsiteX1" fmla="*/ 6292398 w 6448118"/>
                <a:gd name="connsiteY1" fmla="*/ 0 h 357106"/>
                <a:gd name="connsiteX2" fmla="*/ 0 w 6448118"/>
                <a:gd name="connsiteY2" fmla="*/ 357106 h 357106"/>
                <a:gd name="connsiteX3" fmla="*/ 6448118 w 6448118"/>
                <a:gd name="connsiteY3" fmla="*/ 356458 h 357106"/>
              </a:gdLst>
              <a:ahLst/>
              <a:cxnLst>
                <a:cxn ang="0">
                  <a:pos x="connsiteX0" y="connsiteY0"/>
                </a:cxn>
                <a:cxn ang="0">
                  <a:pos x="connsiteX1" y="connsiteY1"/>
                </a:cxn>
                <a:cxn ang="0">
                  <a:pos x="connsiteX2" y="connsiteY2"/>
                </a:cxn>
                <a:cxn ang="0">
                  <a:pos x="connsiteX3" y="connsiteY3"/>
                </a:cxn>
              </a:cxnLst>
              <a:rect l="l" t="t" r="r" b="b"/>
              <a:pathLst>
                <a:path w="6448118" h="357106">
                  <a:moveTo>
                    <a:pt x="6448118" y="356458"/>
                  </a:moveTo>
                  <a:lnTo>
                    <a:pt x="6292398" y="0"/>
                  </a:lnTo>
                  <a:lnTo>
                    <a:pt x="0" y="357106"/>
                  </a:lnTo>
                  <a:lnTo>
                    <a:pt x="6448118" y="356458"/>
                  </a:lnTo>
                  <a:close/>
                </a:path>
              </a:pathLst>
            </a:custGeom>
            <a:solidFill>
              <a:srgbClr val="B6B6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noProof="0" dirty="0"/>
            </a:p>
          </p:txBody>
        </p:sp>
        <p:sp>
          <p:nvSpPr>
            <p:cNvPr id="23" name="Volný tvar 22"/>
            <p:cNvSpPr/>
            <p:nvPr userDrawn="1"/>
          </p:nvSpPr>
          <p:spPr>
            <a:xfrm>
              <a:off x="3635636" y="6964787"/>
              <a:ext cx="4772907" cy="239370"/>
            </a:xfrm>
            <a:custGeom>
              <a:avLst/>
              <a:gdLst>
                <a:gd name="connsiteX0" fmla="*/ 8186468 w 8186468"/>
                <a:gd name="connsiteY0" fmla="*/ 603849 h 603849"/>
                <a:gd name="connsiteX1" fmla="*/ 7962181 w 8186468"/>
                <a:gd name="connsiteY1" fmla="*/ 172528 h 603849"/>
                <a:gd name="connsiteX2" fmla="*/ 8074325 w 8186468"/>
                <a:gd name="connsiteY2" fmla="*/ 0 h 603849"/>
                <a:gd name="connsiteX3" fmla="*/ 112143 w 8186468"/>
                <a:gd name="connsiteY3" fmla="*/ 8626 h 603849"/>
                <a:gd name="connsiteX4" fmla="*/ 0 w 8186468"/>
                <a:gd name="connsiteY4" fmla="*/ 138023 h 603849"/>
                <a:gd name="connsiteX5" fmla="*/ 241540 w 8186468"/>
                <a:gd name="connsiteY5" fmla="*/ 603849 h 603849"/>
                <a:gd name="connsiteX6" fmla="*/ 8186468 w 8186468"/>
                <a:gd name="connsiteY6" fmla="*/ 603849 h 603849"/>
                <a:gd name="connsiteX0" fmla="*/ 8074325 w 8074325"/>
                <a:gd name="connsiteY0" fmla="*/ 603849 h 603849"/>
                <a:gd name="connsiteX1" fmla="*/ 7850038 w 8074325"/>
                <a:gd name="connsiteY1" fmla="*/ 172528 h 603849"/>
                <a:gd name="connsiteX2" fmla="*/ 7962182 w 8074325"/>
                <a:gd name="connsiteY2" fmla="*/ 0 h 603849"/>
                <a:gd name="connsiteX3" fmla="*/ 0 w 8074325"/>
                <a:gd name="connsiteY3" fmla="*/ 8626 h 603849"/>
                <a:gd name="connsiteX4" fmla="*/ 129397 w 8074325"/>
                <a:gd name="connsiteY4" fmla="*/ 603849 h 603849"/>
                <a:gd name="connsiteX5" fmla="*/ 8074325 w 8074325"/>
                <a:gd name="connsiteY5" fmla="*/ 603849 h 603849"/>
                <a:gd name="connsiteX0" fmla="*/ 8417032 w 8417032"/>
                <a:gd name="connsiteY0" fmla="*/ 603849 h 603849"/>
                <a:gd name="connsiteX1" fmla="*/ 8192745 w 8417032"/>
                <a:gd name="connsiteY1" fmla="*/ 172528 h 603849"/>
                <a:gd name="connsiteX2" fmla="*/ 8304889 w 8417032"/>
                <a:gd name="connsiteY2" fmla="*/ 0 h 603849"/>
                <a:gd name="connsiteX3" fmla="*/ 342707 w 8417032"/>
                <a:gd name="connsiteY3" fmla="*/ 8626 h 603849"/>
                <a:gd name="connsiteX4" fmla="*/ 0 w 8417032"/>
                <a:gd name="connsiteY4" fmla="*/ 601591 h 603849"/>
                <a:gd name="connsiteX5" fmla="*/ 8417032 w 8417032"/>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1591 h 603849"/>
                <a:gd name="connsiteX5" fmla="*/ 8417269 w 8417269"/>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3849 h 603849"/>
                <a:gd name="connsiteX5" fmla="*/ 8417269 w 8417269"/>
                <a:gd name="connsiteY5" fmla="*/ 603849 h 603849"/>
                <a:gd name="connsiteX0" fmla="*/ 8491108 w 8491108"/>
                <a:gd name="connsiteY0" fmla="*/ 603849 h 603849"/>
                <a:gd name="connsiteX1" fmla="*/ 8192982 w 8491108"/>
                <a:gd name="connsiteY1" fmla="*/ 172528 h 603849"/>
                <a:gd name="connsiteX2" fmla="*/ 8305126 w 8491108"/>
                <a:gd name="connsiteY2" fmla="*/ 0 h 603849"/>
                <a:gd name="connsiteX3" fmla="*/ 0 w 8491108"/>
                <a:gd name="connsiteY3" fmla="*/ 8626 h 603849"/>
                <a:gd name="connsiteX4" fmla="*/ 237 w 8491108"/>
                <a:gd name="connsiteY4" fmla="*/ 603849 h 603849"/>
                <a:gd name="connsiteX5" fmla="*/ 8491108 w 8491108"/>
                <a:gd name="connsiteY5" fmla="*/ 603849 h 603849"/>
                <a:gd name="connsiteX0" fmla="*/ 8491108 w 8491108"/>
                <a:gd name="connsiteY0" fmla="*/ 595828 h 595828"/>
                <a:gd name="connsiteX1" fmla="*/ 8192982 w 8491108"/>
                <a:gd name="connsiteY1" fmla="*/ 164507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5828 h 595828"/>
                <a:gd name="connsiteX1" fmla="*/ 8335388 w 8491108"/>
                <a:gd name="connsiteY1" fmla="*/ 239370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7306 h 597306"/>
                <a:gd name="connsiteX1" fmla="*/ 8335388 w 8491108"/>
                <a:gd name="connsiteY1" fmla="*/ 240848 h 597306"/>
                <a:gd name="connsiteX2" fmla="*/ 8455442 w 8491108"/>
                <a:gd name="connsiteY2" fmla="*/ 1478 h 597306"/>
                <a:gd name="connsiteX3" fmla="*/ 0 w 8491108"/>
                <a:gd name="connsiteY3" fmla="*/ 0 h 597306"/>
                <a:gd name="connsiteX4" fmla="*/ 237 w 8491108"/>
                <a:gd name="connsiteY4" fmla="*/ 597306 h 597306"/>
                <a:gd name="connsiteX5" fmla="*/ 8491108 w 8491108"/>
                <a:gd name="connsiteY5" fmla="*/ 597306 h 597306"/>
                <a:gd name="connsiteX0" fmla="*/ 3747792 w 8455442"/>
                <a:gd name="connsiteY0" fmla="*/ 0 h 601133"/>
                <a:gd name="connsiteX1" fmla="*/ 8335388 w 8455442"/>
                <a:gd name="connsiteY1" fmla="*/ 244675 h 601133"/>
                <a:gd name="connsiteX2" fmla="*/ 8455442 w 8455442"/>
                <a:gd name="connsiteY2" fmla="*/ 5305 h 601133"/>
                <a:gd name="connsiteX3" fmla="*/ 0 w 8455442"/>
                <a:gd name="connsiteY3" fmla="*/ 3827 h 601133"/>
                <a:gd name="connsiteX4" fmla="*/ 237 w 8455442"/>
                <a:gd name="connsiteY4" fmla="*/ 601133 h 601133"/>
                <a:gd name="connsiteX5" fmla="*/ 3747792 w 8455442"/>
                <a:gd name="connsiteY5" fmla="*/ 0 h 601133"/>
                <a:gd name="connsiteX0" fmla="*/ 3747792 w 8455442"/>
                <a:gd name="connsiteY0" fmla="*/ 0 h 244675"/>
                <a:gd name="connsiteX1" fmla="*/ 8335388 w 8455442"/>
                <a:gd name="connsiteY1" fmla="*/ 244675 h 244675"/>
                <a:gd name="connsiteX2" fmla="*/ 8455442 w 8455442"/>
                <a:gd name="connsiteY2" fmla="*/ 5305 h 244675"/>
                <a:gd name="connsiteX3" fmla="*/ 0 w 8455442"/>
                <a:gd name="connsiteY3" fmla="*/ 3827 h 244675"/>
                <a:gd name="connsiteX4" fmla="*/ 3747792 w 8455442"/>
                <a:gd name="connsiteY4" fmla="*/ 0 h 244675"/>
                <a:gd name="connsiteX0" fmla="*/ 0 w 4707650"/>
                <a:gd name="connsiteY0" fmla="*/ 0 h 244675"/>
                <a:gd name="connsiteX1" fmla="*/ 4587596 w 4707650"/>
                <a:gd name="connsiteY1" fmla="*/ 244675 h 244675"/>
                <a:gd name="connsiteX2" fmla="*/ 4707650 w 4707650"/>
                <a:gd name="connsiteY2" fmla="*/ 5305 h 244675"/>
                <a:gd name="connsiteX3" fmla="*/ 0 w 4707650"/>
                <a:gd name="connsiteY3" fmla="*/ 0 h 244675"/>
                <a:gd name="connsiteX0" fmla="*/ 0 w 4707650"/>
                <a:gd name="connsiteY0" fmla="*/ 410 h 239370"/>
                <a:gd name="connsiteX1" fmla="*/ 4587596 w 4707650"/>
                <a:gd name="connsiteY1" fmla="*/ 239370 h 239370"/>
                <a:gd name="connsiteX2" fmla="*/ 4707650 w 4707650"/>
                <a:gd name="connsiteY2" fmla="*/ 0 h 239370"/>
                <a:gd name="connsiteX3" fmla="*/ 0 w 4707650"/>
                <a:gd name="connsiteY3" fmla="*/ 410 h 239370"/>
              </a:gdLst>
              <a:ahLst/>
              <a:cxnLst>
                <a:cxn ang="0">
                  <a:pos x="connsiteX0" y="connsiteY0"/>
                </a:cxn>
                <a:cxn ang="0">
                  <a:pos x="connsiteX1" y="connsiteY1"/>
                </a:cxn>
                <a:cxn ang="0">
                  <a:pos x="connsiteX2" y="connsiteY2"/>
                </a:cxn>
                <a:cxn ang="0">
                  <a:pos x="connsiteX3" y="connsiteY3"/>
                </a:cxn>
              </a:cxnLst>
              <a:rect l="l" t="t" r="r" b="b"/>
              <a:pathLst>
                <a:path w="4707650" h="239370">
                  <a:moveTo>
                    <a:pt x="0" y="410"/>
                  </a:moveTo>
                  <a:lnTo>
                    <a:pt x="4587596" y="239370"/>
                  </a:lnTo>
                  <a:lnTo>
                    <a:pt x="4707650" y="0"/>
                  </a:lnTo>
                  <a:lnTo>
                    <a:pt x="0" y="410"/>
                  </a:lnTo>
                  <a:close/>
                </a:path>
              </a:pathLst>
            </a:custGeom>
            <a:solidFill>
              <a:srgbClr val="C3C3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noProof="0" dirty="0"/>
            </a:p>
          </p:txBody>
        </p:sp>
        <p:cxnSp>
          <p:nvCxnSpPr>
            <p:cNvPr id="24" name="Přímá spojnice 23"/>
            <p:cNvCxnSpPr/>
            <p:nvPr userDrawn="1"/>
          </p:nvCxnSpPr>
          <p:spPr>
            <a:xfrm flipH="1" flipV="1">
              <a:off x="8389400" y="6966692"/>
              <a:ext cx="2304000" cy="402"/>
            </a:xfrm>
            <a:prstGeom prst="line">
              <a:avLst/>
            </a:prstGeom>
            <a:ln w="6350">
              <a:solidFill>
                <a:srgbClr val="C3C3C3"/>
              </a:solidFill>
            </a:ln>
          </p:spPr>
          <p:style>
            <a:lnRef idx="1">
              <a:schemeClr val="accent1"/>
            </a:lnRef>
            <a:fillRef idx="0">
              <a:schemeClr val="accent1"/>
            </a:fillRef>
            <a:effectRef idx="0">
              <a:schemeClr val="accent1"/>
            </a:effectRef>
            <a:fontRef idx="minor">
              <a:schemeClr val="tx1"/>
            </a:fontRef>
          </p:style>
        </p:cxnSp>
      </p:grpSp>
      <p:graphicFrame>
        <p:nvGraphicFramePr>
          <p:cNvPr id="6" name="Objekt 5" hidden="1"/>
          <p:cNvGraphicFramePr>
            <a:graphicFrameLocks noChangeAspect="1"/>
          </p:cNvGraphicFramePr>
          <p:nvPr userDrawn="1">
            <p:custDataLst>
              <p:tags r:id="rId1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4" imgW="399" imgH="398" progId="TCLayout.ActiveDocument.1">
                  <p:embed/>
                </p:oleObj>
              </mc:Choice>
              <mc:Fallback>
                <p:oleObj name="think-cell Slide" r:id="rId14" imgW="399" imgH="398" progId="TCLayout.ActiveDocument.1">
                  <p:embed/>
                  <p:pic>
                    <p:nvPicPr>
                      <p:cNvPr id="6" name="Objekt 5" hidden="1"/>
                      <p:cNvPicPr/>
                      <p:nvPr/>
                    </p:nvPicPr>
                    <p:blipFill>
                      <a:blip r:embed="rId15"/>
                      <a:stretch>
                        <a:fillRect/>
                      </a:stretch>
                    </p:blipFill>
                    <p:spPr>
                      <a:xfrm>
                        <a:off x="1589" y="1589"/>
                        <a:ext cx="1587" cy="1587"/>
                      </a:xfrm>
                      <a:prstGeom prst="rect">
                        <a:avLst/>
                      </a:prstGeom>
                    </p:spPr>
                  </p:pic>
                </p:oleObj>
              </mc:Fallback>
            </mc:AlternateContent>
          </a:graphicData>
        </a:graphic>
      </p:graphicFrame>
      <p:sp>
        <p:nvSpPr>
          <p:cNvPr id="3" name="Zástupný symbol pro text 2"/>
          <p:cNvSpPr>
            <a:spLocks noGrp="1"/>
          </p:cNvSpPr>
          <p:nvPr>
            <p:ph type="body" idx="1"/>
          </p:nvPr>
        </p:nvSpPr>
        <p:spPr>
          <a:xfrm>
            <a:off x="342850" y="1439562"/>
            <a:ext cx="10006115" cy="5183685"/>
          </a:xfrm>
          <a:prstGeom prst="rect">
            <a:avLst/>
          </a:prstGeom>
        </p:spPr>
        <p:txBody>
          <a:bodyPr vert="horz" lIns="0" tIns="0" rIns="0" bIns="0" rtlCol="0">
            <a:normAutofit/>
          </a:body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5" name="Zástupný symbol pro zápatí 4"/>
          <p:cNvSpPr>
            <a:spLocks noGrp="1"/>
          </p:cNvSpPr>
          <p:nvPr>
            <p:ph type="ftr" sz="quarter" idx="3"/>
          </p:nvPr>
        </p:nvSpPr>
        <p:spPr>
          <a:xfrm>
            <a:off x="719894" y="7162496"/>
            <a:ext cx="6173596" cy="179962"/>
          </a:xfrm>
          <a:prstGeom prst="rect">
            <a:avLst/>
          </a:prstGeom>
        </p:spPr>
        <p:txBody>
          <a:bodyPr vert="horz" lIns="0" tIns="0" rIns="0" bIns="0" rtlCol="0" anchor="b" anchorCtr="0"/>
          <a:lstStyle>
            <a:lvl1pPr algn="l">
              <a:defRPr sz="700">
                <a:solidFill>
                  <a:schemeClr val="tx1"/>
                </a:solidFill>
                <a:latin typeface="SKODA Next" panose="020B0504020603020204" pitchFamily="34" charset="0"/>
                <a:ea typeface="Verdana" pitchFamily="34" charset="0"/>
                <a:cs typeface="Verdana" pitchFamily="34" charset="0"/>
              </a:defRPr>
            </a:lvl1pPr>
          </a:lstStyle>
          <a:p>
            <a:endParaRPr lang="cs-CZ" dirty="0"/>
          </a:p>
        </p:txBody>
      </p:sp>
      <p:sp>
        <p:nvSpPr>
          <p:cNvPr id="7" name="Zástupný symbol pro číslo snímku 6"/>
          <p:cNvSpPr>
            <a:spLocks noGrp="1"/>
          </p:cNvSpPr>
          <p:nvPr>
            <p:ph type="sldNum" sz="quarter" idx="4"/>
          </p:nvPr>
        </p:nvSpPr>
        <p:spPr>
          <a:xfrm>
            <a:off x="342849" y="7162496"/>
            <a:ext cx="269960" cy="179962"/>
          </a:xfrm>
          <a:prstGeom prst="rect">
            <a:avLst/>
          </a:prstGeom>
        </p:spPr>
        <p:txBody>
          <a:bodyPr vert="horz" lIns="0" tIns="0" rIns="0" bIns="0" rtlCol="0" anchor="b" anchorCtr="0"/>
          <a:lstStyle>
            <a:lvl1pPr algn="l">
              <a:defRPr sz="700">
                <a:solidFill>
                  <a:schemeClr val="tx1"/>
                </a:solidFill>
                <a:latin typeface="SKODA Next" panose="020B0504020603020204" pitchFamily="34" charset="0"/>
                <a:ea typeface="Verdana" pitchFamily="34" charset="0"/>
                <a:cs typeface="Verdana" pitchFamily="34" charset="0"/>
              </a:defRPr>
            </a:lvl1pPr>
          </a:lstStyle>
          <a:p>
            <a:fld id="{1E956721-BB38-4972-8ACD-5A2C9377E3B4}" type="slidenum">
              <a:rPr lang="cs-CZ" smtClean="0"/>
              <a:pPr/>
              <a:t>‹#›</a:t>
            </a:fld>
            <a:endParaRPr lang="cs-CZ" dirty="0"/>
          </a:p>
        </p:txBody>
      </p:sp>
      <p:sp>
        <p:nvSpPr>
          <p:cNvPr id="2" name="Zástupný symbol pro nadpis 1"/>
          <p:cNvSpPr>
            <a:spLocks noGrp="1"/>
          </p:cNvSpPr>
          <p:nvPr>
            <p:ph type="title"/>
          </p:nvPr>
        </p:nvSpPr>
        <p:spPr>
          <a:xfrm>
            <a:off x="342850" y="360287"/>
            <a:ext cx="10006115" cy="431909"/>
          </a:xfrm>
          <a:prstGeom prst="rect">
            <a:avLst/>
          </a:prstGeom>
        </p:spPr>
        <p:txBody>
          <a:bodyPr vert="horz" lIns="0" tIns="0" rIns="0" bIns="0" rtlCol="0" anchor="t" anchorCtr="0">
            <a:noAutofit/>
          </a:bodyPr>
          <a:lstStyle/>
          <a:p>
            <a:r>
              <a:rPr lang="cs-CZ" noProof="0" dirty="0"/>
              <a:t>Nadpis (shrnutí stránky)</a:t>
            </a:r>
          </a:p>
        </p:txBody>
      </p:sp>
      <p:sp>
        <p:nvSpPr>
          <p:cNvPr id="14" name="TextovéPole 13"/>
          <p:cNvSpPr txBox="1"/>
          <p:nvPr userDrawn="1"/>
        </p:nvSpPr>
        <p:spPr>
          <a:xfrm>
            <a:off x="7560000" y="7354800"/>
            <a:ext cx="720000" cy="108000"/>
          </a:xfrm>
          <a:prstGeom prst="rect">
            <a:avLst/>
          </a:prstGeom>
          <a:noFill/>
        </p:spPr>
        <p:txBody>
          <a:bodyPr wrap="square" lIns="0" tIns="0" rIns="0" bIns="0" rtlCol="0" anchor="b" anchorCtr="0">
            <a:normAutofit/>
          </a:bodyPr>
          <a:lstStyle/>
          <a:p>
            <a:pPr algn="r"/>
            <a:r>
              <a:rPr lang="en-GB" sz="700" noProof="0" dirty="0">
                <a:latin typeface="SKODA Next" panose="020B0504020603020204" pitchFamily="34" charset="0"/>
                <a:cs typeface="Arial" panose="020B0604020202020204" pitchFamily="34" charset="0"/>
              </a:rPr>
              <a:t>CONFIDENTIAL</a:t>
            </a:r>
          </a:p>
        </p:txBody>
      </p:sp>
    </p:spTree>
    <p:extLst>
      <p:ext uri="{BB962C8B-B14F-4D97-AF65-F5344CB8AC3E}">
        <p14:creationId xmlns:p14="http://schemas.microsoft.com/office/powerpoint/2010/main" val="2457303714"/>
      </p:ext>
    </p:extLst>
  </p:cSld>
  <p:clrMap bg1="lt1" tx1="dk1" bg2="lt2" tx2="dk2" accent1="accent1" accent2="accent2" accent3="accent3" accent4="accent4" accent5="accent5" accent6="accent6" hlink="hlink" folHlink="folHlink"/>
  <p:sldLayoutIdLst>
    <p:sldLayoutId id="2147483704" r:id="rId1"/>
    <p:sldLayoutId id="2147483739"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Lst>
  <p:hf hdr="0" ftr="0" dt="0"/>
  <p:txStyles>
    <p:titleStyle>
      <a:lvl1pPr algn="l" defTabSz="1043056" rtl="0" eaLnBrk="1" latinLnBrk="0" hangingPunct="1">
        <a:lnSpc>
          <a:spcPts val="3200"/>
        </a:lnSpc>
        <a:spcBef>
          <a:spcPct val="0"/>
        </a:spcBef>
        <a:buNone/>
        <a:defRPr sz="2800" b="1" kern="1200">
          <a:solidFill>
            <a:schemeClr val="tx1"/>
          </a:solidFill>
          <a:latin typeface="SKODA Next" panose="020B0504020603020204" pitchFamily="34" charset="0"/>
          <a:ea typeface="Verdana" pitchFamily="34" charset="0"/>
          <a:cs typeface="Verdana" pitchFamily="34" charset="0"/>
        </a:defRPr>
      </a:lvl1pPr>
    </p:titleStyle>
    <p:bodyStyle>
      <a:lvl1pPr marL="18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1pPr>
      <a:lvl2pPr marL="36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2pPr>
      <a:lvl3pPr marL="54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3pPr>
      <a:lvl4pPr marL="72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4pPr>
      <a:lvl5pPr marL="90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7"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cs-CZ"/>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39"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7" userDrawn="1">
          <p15:clr>
            <a:srgbClr val="F26B43"/>
          </p15:clr>
        </p15:guide>
        <p15:guide id="2" pos="3255" userDrawn="1">
          <p15:clr>
            <a:srgbClr val="F26B43"/>
          </p15:clr>
        </p15:guide>
        <p15:guide id="3" pos="2393" userDrawn="1">
          <p15:clr>
            <a:srgbClr val="F26B43"/>
          </p15:clr>
        </p15:guide>
        <p15:guide id="4" pos="2166" userDrawn="1">
          <p15:clr>
            <a:srgbClr val="F26B43"/>
          </p15:clr>
        </p15:guide>
        <p15:guide id="5" pos="1304" userDrawn="1">
          <p15:clr>
            <a:srgbClr val="F26B43"/>
          </p15:clr>
        </p15:guide>
        <p15:guide id="6" pos="1077" userDrawn="1">
          <p15:clr>
            <a:srgbClr val="F26B43"/>
          </p15:clr>
        </p15:guide>
        <p15:guide id="7" pos="216" userDrawn="1">
          <p15:clr>
            <a:srgbClr val="F26B43"/>
          </p15:clr>
        </p15:guide>
        <p15:guide id="8" pos="3480" userDrawn="1">
          <p15:clr>
            <a:srgbClr val="F26B43"/>
          </p15:clr>
        </p15:guide>
        <p15:guide id="9" pos="4342" userDrawn="1">
          <p15:clr>
            <a:srgbClr val="F26B43"/>
          </p15:clr>
        </p15:guide>
        <p15:guide id="10" pos="4569" userDrawn="1">
          <p15:clr>
            <a:srgbClr val="F26B43"/>
          </p15:clr>
        </p15:guide>
        <p15:guide id="11" pos="5431" userDrawn="1">
          <p15:clr>
            <a:srgbClr val="F26B43"/>
          </p15:clr>
        </p15:guide>
        <p15:guide id="12" pos="5658" userDrawn="1">
          <p15:clr>
            <a:srgbClr val="F26B43"/>
          </p15:clr>
        </p15:guide>
        <p15:guide id="13" pos="6519" userDrawn="1">
          <p15:clr>
            <a:srgbClr val="F26B43"/>
          </p15:clr>
        </p15:guide>
        <p15:guide id="14" orient="horz" pos="907" userDrawn="1">
          <p15:clr>
            <a:srgbClr val="F26B43"/>
          </p15:clr>
        </p15:guide>
        <p15:guide id="15" orient="horz" pos="4172" userDrawn="1">
          <p15:clr>
            <a:srgbClr val="F26B43"/>
          </p15:clr>
        </p15:guide>
        <p15:guide id="16" orient="horz" pos="2471" userDrawn="1">
          <p15:clr>
            <a:srgbClr val="F26B43"/>
          </p15:clr>
        </p15:guide>
        <p15:guide id="17" orient="horz" pos="2607"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3" name="Skupina 12"/>
          <p:cNvGrpSpPr/>
          <p:nvPr userDrawn="1"/>
        </p:nvGrpSpPr>
        <p:grpSpPr>
          <a:xfrm>
            <a:off x="0" y="6961281"/>
            <a:ext cx="10693400" cy="599982"/>
            <a:chOff x="0" y="6961281"/>
            <a:chExt cx="10693400" cy="599982"/>
          </a:xfrm>
        </p:grpSpPr>
        <p:pic>
          <p:nvPicPr>
            <p:cNvPr id="20" name="Obrázek 19"/>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623721" y="7084105"/>
              <a:ext cx="1726779" cy="360000"/>
            </a:xfrm>
            <a:prstGeom prst="rect">
              <a:avLst/>
            </a:prstGeom>
          </p:spPr>
        </p:pic>
        <p:sp>
          <p:nvSpPr>
            <p:cNvPr id="21" name="Volný tvar 20"/>
            <p:cNvSpPr/>
            <p:nvPr userDrawn="1"/>
          </p:nvSpPr>
          <p:spPr>
            <a:xfrm>
              <a:off x="0" y="6961281"/>
              <a:ext cx="8444706" cy="599334"/>
            </a:xfrm>
            <a:custGeom>
              <a:avLst/>
              <a:gdLst>
                <a:gd name="connsiteX0" fmla="*/ 8186468 w 8186468"/>
                <a:gd name="connsiteY0" fmla="*/ 603849 h 603849"/>
                <a:gd name="connsiteX1" fmla="*/ 7962181 w 8186468"/>
                <a:gd name="connsiteY1" fmla="*/ 172528 h 603849"/>
                <a:gd name="connsiteX2" fmla="*/ 8074325 w 8186468"/>
                <a:gd name="connsiteY2" fmla="*/ 0 h 603849"/>
                <a:gd name="connsiteX3" fmla="*/ 112143 w 8186468"/>
                <a:gd name="connsiteY3" fmla="*/ 8626 h 603849"/>
                <a:gd name="connsiteX4" fmla="*/ 0 w 8186468"/>
                <a:gd name="connsiteY4" fmla="*/ 138023 h 603849"/>
                <a:gd name="connsiteX5" fmla="*/ 241540 w 8186468"/>
                <a:gd name="connsiteY5" fmla="*/ 603849 h 603849"/>
                <a:gd name="connsiteX6" fmla="*/ 8186468 w 8186468"/>
                <a:gd name="connsiteY6" fmla="*/ 603849 h 603849"/>
                <a:gd name="connsiteX0" fmla="*/ 8074325 w 8074325"/>
                <a:gd name="connsiteY0" fmla="*/ 603849 h 603849"/>
                <a:gd name="connsiteX1" fmla="*/ 7850038 w 8074325"/>
                <a:gd name="connsiteY1" fmla="*/ 172528 h 603849"/>
                <a:gd name="connsiteX2" fmla="*/ 7962182 w 8074325"/>
                <a:gd name="connsiteY2" fmla="*/ 0 h 603849"/>
                <a:gd name="connsiteX3" fmla="*/ 0 w 8074325"/>
                <a:gd name="connsiteY3" fmla="*/ 8626 h 603849"/>
                <a:gd name="connsiteX4" fmla="*/ 129397 w 8074325"/>
                <a:gd name="connsiteY4" fmla="*/ 603849 h 603849"/>
                <a:gd name="connsiteX5" fmla="*/ 8074325 w 8074325"/>
                <a:gd name="connsiteY5" fmla="*/ 603849 h 603849"/>
                <a:gd name="connsiteX0" fmla="*/ 8417032 w 8417032"/>
                <a:gd name="connsiteY0" fmla="*/ 603849 h 603849"/>
                <a:gd name="connsiteX1" fmla="*/ 8192745 w 8417032"/>
                <a:gd name="connsiteY1" fmla="*/ 172528 h 603849"/>
                <a:gd name="connsiteX2" fmla="*/ 8304889 w 8417032"/>
                <a:gd name="connsiteY2" fmla="*/ 0 h 603849"/>
                <a:gd name="connsiteX3" fmla="*/ 342707 w 8417032"/>
                <a:gd name="connsiteY3" fmla="*/ 8626 h 603849"/>
                <a:gd name="connsiteX4" fmla="*/ 0 w 8417032"/>
                <a:gd name="connsiteY4" fmla="*/ 601591 h 603849"/>
                <a:gd name="connsiteX5" fmla="*/ 8417032 w 8417032"/>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1591 h 603849"/>
                <a:gd name="connsiteX5" fmla="*/ 8417269 w 8417269"/>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3849 h 603849"/>
                <a:gd name="connsiteX5" fmla="*/ 8417269 w 8417269"/>
                <a:gd name="connsiteY5" fmla="*/ 603849 h 603849"/>
                <a:gd name="connsiteX0" fmla="*/ 8491108 w 8491108"/>
                <a:gd name="connsiteY0" fmla="*/ 603849 h 603849"/>
                <a:gd name="connsiteX1" fmla="*/ 8192982 w 8491108"/>
                <a:gd name="connsiteY1" fmla="*/ 172528 h 603849"/>
                <a:gd name="connsiteX2" fmla="*/ 8305126 w 8491108"/>
                <a:gd name="connsiteY2" fmla="*/ 0 h 603849"/>
                <a:gd name="connsiteX3" fmla="*/ 0 w 8491108"/>
                <a:gd name="connsiteY3" fmla="*/ 8626 h 603849"/>
                <a:gd name="connsiteX4" fmla="*/ 237 w 8491108"/>
                <a:gd name="connsiteY4" fmla="*/ 603849 h 603849"/>
                <a:gd name="connsiteX5" fmla="*/ 8491108 w 8491108"/>
                <a:gd name="connsiteY5" fmla="*/ 603849 h 603849"/>
                <a:gd name="connsiteX0" fmla="*/ 8491108 w 8491108"/>
                <a:gd name="connsiteY0" fmla="*/ 595828 h 595828"/>
                <a:gd name="connsiteX1" fmla="*/ 8192982 w 8491108"/>
                <a:gd name="connsiteY1" fmla="*/ 164507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5828 h 595828"/>
                <a:gd name="connsiteX1" fmla="*/ 8335388 w 8491108"/>
                <a:gd name="connsiteY1" fmla="*/ 239370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7306 h 597306"/>
                <a:gd name="connsiteX1" fmla="*/ 8335388 w 8491108"/>
                <a:gd name="connsiteY1" fmla="*/ 240848 h 597306"/>
                <a:gd name="connsiteX2" fmla="*/ 8455442 w 8491108"/>
                <a:gd name="connsiteY2" fmla="*/ 1478 h 597306"/>
                <a:gd name="connsiteX3" fmla="*/ 0 w 8491108"/>
                <a:gd name="connsiteY3" fmla="*/ 0 h 597306"/>
                <a:gd name="connsiteX4" fmla="*/ 237 w 8491108"/>
                <a:gd name="connsiteY4" fmla="*/ 597306 h 597306"/>
                <a:gd name="connsiteX5" fmla="*/ 8491108 w 8491108"/>
                <a:gd name="connsiteY5" fmla="*/ 597306 h 597306"/>
                <a:gd name="connsiteX0" fmla="*/ 8490871 w 8490871"/>
                <a:gd name="connsiteY0" fmla="*/ 599334 h 599334"/>
                <a:gd name="connsiteX1" fmla="*/ 8335151 w 8490871"/>
                <a:gd name="connsiteY1" fmla="*/ 242876 h 599334"/>
                <a:gd name="connsiteX2" fmla="*/ 8455205 w 8490871"/>
                <a:gd name="connsiteY2" fmla="*/ 3506 h 599334"/>
                <a:gd name="connsiteX3" fmla="*/ 159745 w 8490871"/>
                <a:gd name="connsiteY3" fmla="*/ 0 h 599334"/>
                <a:gd name="connsiteX4" fmla="*/ 0 w 8490871"/>
                <a:gd name="connsiteY4" fmla="*/ 599334 h 599334"/>
                <a:gd name="connsiteX5" fmla="*/ 8490871 w 8490871"/>
                <a:gd name="connsiteY5" fmla="*/ 599334 h 599334"/>
                <a:gd name="connsiteX0" fmla="*/ 8331126 w 8331126"/>
                <a:gd name="connsiteY0" fmla="*/ 599334 h 599334"/>
                <a:gd name="connsiteX1" fmla="*/ 8175406 w 8331126"/>
                <a:gd name="connsiteY1" fmla="*/ 242876 h 599334"/>
                <a:gd name="connsiteX2" fmla="*/ 8295460 w 8331126"/>
                <a:gd name="connsiteY2" fmla="*/ 3506 h 599334"/>
                <a:gd name="connsiteX3" fmla="*/ 0 w 8331126"/>
                <a:gd name="connsiteY3" fmla="*/ 0 h 599334"/>
                <a:gd name="connsiteX4" fmla="*/ 12236 w 8331126"/>
                <a:gd name="connsiteY4" fmla="*/ 599334 h 599334"/>
                <a:gd name="connsiteX5" fmla="*/ 8331126 w 8331126"/>
                <a:gd name="connsiteY5" fmla="*/ 599334 h 599334"/>
                <a:gd name="connsiteX0" fmla="*/ 8331126 w 8331126"/>
                <a:gd name="connsiteY0" fmla="*/ 599334 h 599334"/>
                <a:gd name="connsiteX1" fmla="*/ 8175406 w 8331126"/>
                <a:gd name="connsiteY1" fmla="*/ 242876 h 599334"/>
                <a:gd name="connsiteX2" fmla="*/ 8295460 w 8331126"/>
                <a:gd name="connsiteY2" fmla="*/ 3506 h 599334"/>
                <a:gd name="connsiteX3" fmla="*/ 0 w 8331126"/>
                <a:gd name="connsiteY3" fmla="*/ 0 h 599334"/>
                <a:gd name="connsiteX4" fmla="*/ 2842 w 8331126"/>
                <a:gd name="connsiteY4" fmla="*/ 599334 h 599334"/>
                <a:gd name="connsiteX5" fmla="*/ 8331126 w 8331126"/>
                <a:gd name="connsiteY5" fmla="*/ 599334 h 599334"/>
                <a:gd name="connsiteX0" fmla="*/ 8328482 w 8328482"/>
                <a:gd name="connsiteY0" fmla="*/ 599334 h 599334"/>
                <a:gd name="connsiteX1" fmla="*/ 8172762 w 8328482"/>
                <a:gd name="connsiteY1" fmla="*/ 242876 h 599334"/>
                <a:gd name="connsiteX2" fmla="*/ 8292816 w 8328482"/>
                <a:gd name="connsiteY2" fmla="*/ 3506 h 599334"/>
                <a:gd name="connsiteX3" fmla="*/ 1114 w 8328482"/>
                <a:gd name="connsiteY3" fmla="*/ 0 h 599334"/>
                <a:gd name="connsiteX4" fmla="*/ 198 w 8328482"/>
                <a:gd name="connsiteY4" fmla="*/ 599334 h 599334"/>
                <a:gd name="connsiteX5" fmla="*/ 8328482 w 8328482"/>
                <a:gd name="connsiteY5" fmla="*/ 599334 h 599334"/>
                <a:gd name="connsiteX0" fmla="*/ 8329247 w 8329247"/>
                <a:gd name="connsiteY0" fmla="*/ 599334 h 599334"/>
                <a:gd name="connsiteX1" fmla="*/ 8173527 w 8329247"/>
                <a:gd name="connsiteY1" fmla="*/ 242876 h 599334"/>
                <a:gd name="connsiteX2" fmla="*/ 8293581 w 8329247"/>
                <a:gd name="connsiteY2" fmla="*/ 3506 h 599334"/>
                <a:gd name="connsiteX3" fmla="*/ 0 w 8329247"/>
                <a:gd name="connsiteY3" fmla="*/ 0 h 599334"/>
                <a:gd name="connsiteX4" fmla="*/ 963 w 8329247"/>
                <a:gd name="connsiteY4" fmla="*/ 599334 h 599334"/>
                <a:gd name="connsiteX5" fmla="*/ 8329247 w 8329247"/>
                <a:gd name="connsiteY5" fmla="*/ 599334 h 599334"/>
                <a:gd name="connsiteX0" fmla="*/ 8328325 w 8328325"/>
                <a:gd name="connsiteY0" fmla="*/ 599334 h 599334"/>
                <a:gd name="connsiteX1" fmla="*/ 8172605 w 8328325"/>
                <a:gd name="connsiteY1" fmla="*/ 242876 h 599334"/>
                <a:gd name="connsiteX2" fmla="*/ 8292659 w 8328325"/>
                <a:gd name="connsiteY2" fmla="*/ 3506 h 599334"/>
                <a:gd name="connsiteX3" fmla="*/ 14110 w 8328325"/>
                <a:gd name="connsiteY3" fmla="*/ 0 h 599334"/>
                <a:gd name="connsiteX4" fmla="*/ 41 w 8328325"/>
                <a:gd name="connsiteY4" fmla="*/ 599334 h 599334"/>
                <a:gd name="connsiteX5" fmla="*/ 8328325 w 8328325"/>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21630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2841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2841 w 8329246"/>
                <a:gd name="connsiteY4" fmla="*/ 599334 h 599334"/>
                <a:gd name="connsiteX5" fmla="*/ 8329246 w 8329246"/>
                <a:gd name="connsiteY5" fmla="*/ 599334 h 599334"/>
                <a:gd name="connsiteX0" fmla="*/ 8329246 w 8329246"/>
                <a:gd name="connsiteY0" fmla="*/ 599334 h 599334"/>
                <a:gd name="connsiteX1" fmla="*/ 8173526 w 8329246"/>
                <a:gd name="connsiteY1" fmla="*/ 242876 h 599334"/>
                <a:gd name="connsiteX2" fmla="*/ 8293580 w 8329246"/>
                <a:gd name="connsiteY2" fmla="*/ 3506 h 599334"/>
                <a:gd name="connsiteX3" fmla="*/ 0 w 8329246"/>
                <a:gd name="connsiteY3" fmla="*/ 0 h 599334"/>
                <a:gd name="connsiteX4" fmla="*/ 962 w 8329246"/>
                <a:gd name="connsiteY4" fmla="*/ 599334 h 599334"/>
                <a:gd name="connsiteX5" fmla="*/ 8329246 w 8329246"/>
                <a:gd name="connsiteY5" fmla="*/ 599334 h 599334"/>
                <a:gd name="connsiteX0" fmla="*/ 8330206 w 8330206"/>
                <a:gd name="connsiteY0" fmla="*/ 599334 h 599334"/>
                <a:gd name="connsiteX1" fmla="*/ 8174486 w 8330206"/>
                <a:gd name="connsiteY1" fmla="*/ 242876 h 599334"/>
                <a:gd name="connsiteX2" fmla="*/ 8294540 w 8330206"/>
                <a:gd name="connsiteY2" fmla="*/ 3506 h 599334"/>
                <a:gd name="connsiteX3" fmla="*/ 960 w 8330206"/>
                <a:gd name="connsiteY3" fmla="*/ 0 h 599334"/>
                <a:gd name="connsiteX4" fmla="*/ 43 w 8330206"/>
                <a:gd name="connsiteY4" fmla="*/ 599334 h 599334"/>
                <a:gd name="connsiteX5" fmla="*/ 8330206 w 8330206"/>
                <a:gd name="connsiteY5" fmla="*/ 599334 h 599334"/>
                <a:gd name="connsiteX0" fmla="*/ 8331125 w 8331125"/>
                <a:gd name="connsiteY0" fmla="*/ 599334 h 599334"/>
                <a:gd name="connsiteX1" fmla="*/ 8175405 w 8331125"/>
                <a:gd name="connsiteY1" fmla="*/ 242876 h 599334"/>
                <a:gd name="connsiteX2" fmla="*/ 8295459 w 8331125"/>
                <a:gd name="connsiteY2" fmla="*/ 3506 h 599334"/>
                <a:gd name="connsiteX3" fmla="*/ 0 w 8331125"/>
                <a:gd name="connsiteY3" fmla="*/ 0 h 599334"/>
                <a:gd name="connsiteX4" fmla="*/ 962 w 8331125"/>
                <a:gd name="connsiteY4" fmla="*/ 599334 h 599334"/>
                <a:gd name="connsiteX5" fmla="*/ 8331125 w 8331125"/>
                <a:gd name="connsiteY5" fmla="*/ 599334 h 599334"/>
                <a:gd name="connsiteX0" fmla="*/ 8330185 w 8330185"/>
                <a:gd name="connsiteY0" fmla="*/ 599334 h 599334"/>
                <a:gd name="connsiteX1" fmla="*/ 8174465 w 8330185"/>
                <a:gd name="connsiteY1" fmla="*/ 242876 h 599334"/>
                <a:gd name="connsiteX2" fmla="*/ 8294519 w 8330185"/>
                <a:gd name="connsiteY2" fmla="*/ 3506 h 599334"/>
                <a:gd name="connsiteX3" fmla="*/ 2818 w 8330185"/>
                <a:gd name="connsiteY3" fmla="*/ 0 h 599334"/>
                <a:gd name="connsiteX4" fmla="*/ 22 w 8330185"/>
                <a:gd name="connsiteY4" fmla="*/ 599334 h 599334"/>
                <a:gd name="connsiteX5" fmla="*/ 8330185 w 8330185"/>
                <a:gd name="connsiteY5" fmla="*/ 599334 h 599334"/>
                <a:gd name="connsiteX0" fmla="*/ 8328328 w 8328328"/>
                <a:gd name="connsiteY0" fmla="*/ 599334 h 599334"/>
                <a:gd name="connsiteX1" fmla="*/ 8172608 w 8328328"/>
                <a:gd name="connsiteY1" fmla="*/ 242876 h 599334"/>
                <a:gd name="connsiteX2" fmla="*/ 8292662 w 8328328"/>
                <a:gd name="connsiteY2" fmla="*/ 3506 h 599334"/>
                <a:gd name="connsiteX3" fmla="*/ 961 w 8328328"/>
                <a:gd name="connsiteY3" fmla="*/ 0 h 599334"/>
                <a:gd name="connsiteX4" fmla="*/ 44 w 8328328"/>
                <a:gd name="connsiteY4" fmla="*/ 599334 h 599334"/>
                <a:gd name="connsiteX5" fmla="*/ 8328328 w 8328328"/>
                <a:gd name="connsiteY5" fmla="*/ 599334 h 599334"/>
                <a:gd name="connsiteX0" fmla="*/ 8327367 w 8327367"/>
                <a:gd name="connsiteY0" fmla="*/ 599334 h 599334"/>
                <a:gd name="connsiteX1" fmla="*/ 8171647 w 8327367"/>
                <a:gd name="connsiteY1" fmla="*/ 242876 h 599334"/>
                <a:gd name="connsiteX2" fmla="*/ 8291701 w 8327367"/>
                <a:gd name="connsiteY2" fmla="*/ 3506 h 599334"/>
                <a:gd name="connsiteX3" fmla="*/ 0 w 8327367"/>
                <a:gd name="connsiteY3" fmla="*/ 0 h 599334"/>
                <a:gd name="connsiteX4" fmla="*/ 962 w 8327367"/>
                <a:gd name="connsiteY4" fmla="*/ 599334 h 599334"/>
                <a:gd name="connsiteX5" fmla="*/ 8327367 w 8327367"/>
                <a:gd name="connsiteY5" fmla="*/ 599334 h 599334"/>
                <a:gd name="connsiteX0" fmla="*/ 8328327 w 8328327"/>
                <a:gd name="connsiteY0" fmla="*/ 599334 h 599334"/>
                <a:gd name="connsiteX1" fmla="*/ 8172607 w 8328327"/>
                <a:gd name="connsiteY1" fmla="*/ 242876 h 599334"/>
                <a:gd name="connsiteX2" fmla="*/ 8292661 w 8328327"/>
                <a:gd name="connsiteY2" fmla="*/ 3506 h 599334"/>
                <a:gd name="connsiteX3" fmla="*/ 960 w 8328327"/>
                <a:gd name="connsiteY3" fmla="*/ 0 h 599334"/>
                <a:gd name="connsiteX4" fmla="*/ 43 w 8328327"/>
                <a:gd name="connsiteY4" fmla="*/ 599334 h 599334"/>
                <a:gd name="connsiteX5" fmla="*/ 8328327 w 8328327"/>
                <a:gd name="connsiteY5" fmla="*/ 599334 h 599334"/>
                <a:gd name="connsiteX0" fmla="*/ 8328285 w 8328285"/>
                <a:gd name="connsiteY0" fmla="*/ 599334 h 599334"/>
                <a:gd name="connsiteX1" fmla="*/ 8172565 w 8328285"/>
                <a:gd name="connsiteY1" fmla="*/ 242876 h 599334"/>
                <a:gd name="connsiteX2" fmla="*/ 8292619 w 8328285"/>
                <a:gd name="connsiteY2" fmla="*/ 3506 h 599334"/>
                <a:gd name="connsiteX3" fmla="*/ 341008 w 8328285"/>
                <a:gd name="connsiteY3" fmla="*/ 0 h 599334"/>
                <a:gd name="connsiteX4" fmla="*/ 1 w 8328285"/>
                <a:gd name="connsiteY4" fmla="*/ 599334 h 599334"/>
                <a:gd name="connsiteX5" fmla="*/ 8328285 w 8328285"/>
                <a:gd name="connsiteY5" fmla="*/ 599334 h 599334"/>
                <a:gd name="connsiteX0" fmla="*/ 7990094 w 7990094"/>
                <a:gd name="connsiteY0" fmla="*/ 599334 h 601239"/>
                <a:gd name="connsiteX1" fmla="*/ 7834374 w 7990094"/>
                <a:gd name="connsiteY1" fmla="*/ 242876 h 601239"/>
                <a:gd name="connsiteX2" fmla="*/ 7954428 w 7990094"/>
                <a:gd name="connsiteY2" fmla="*/ 3506 h 601239"/>
                <a:gd name="connsiteX3" fmla="*/ 2817 w 7990094"/>
                <a:gd name="connsiteY3" fmla="*/ 0 h 601239"/>
                <a:gd name="connsiteX4" fmla="*/ 22 w 7990094"/>
                <a:gd name="connsiteY4" fmla="*/ 601239 h 601239"/>
                <a:gd name="connsiteX5" fmla="*/ 7990094 w 7990094"/>
                <a:gd name="connsiteY5" fmla="*/ 599334 h 601239"/>
                <a:gd name="connsiteX0" fmla="*/ 8328284 w 8328284"/>
                <a:gd name="connsiteY0" fmla="*/ 599334 h 599334"/>
                <a:gd name="connsiteX1" fmla="*/ 8172564 w 8328284"/>
                <a:gd name="connsiteY1" fmla="*/ 242876 h 599334"/>
                <a:gd name="connsiteX2" fmla="*/ 8292618 w 8328284"/>
                <a:gd name="connsiteY2" fmla="*/ 3506 h 599334"/>
                <a:gd name="connsiteX3" fmla="*/ 341007 w 8328284"/>
                <a:gd name="connsiteY3" fmla="*/ 0 h 599334"/>
                <a:gd name="connsiteX4" fmla="*/ 0 w 8328284"/>
                <a:gd name="connsiteY4" fmla="*/ 597429 h 599334"/>
                <a:gd name="connsiteX5" fmla="*/ 8328284 w 8328284"/>
                <a:gd name="connsiteY5" fmla="*/ 599334 h 599334"/>
                <a:gd name="connsiteX0" fmla="*/ 8328284 w 8328284"/>
                <a:gd name="connsiteY0" fmla="*/ 599334 h 599334"/>
                <a:gd name="connsiteX1" fmla="*/ 8172564 w 8328284"/>
                <a:gd name="connsiteY1" fmla="*/ 242876 h 599334"/>
                <a:gd name="connsiteX2" fmla="*/ 8292618 w 8328284"/>
                <a:gd name="connsiteY2" fmla="*/ 3506 h 599334"/>
                <a:gd name="connsiteX3" fmla="*/ 341007 w 8328284"/>
                <a:gd name="connsiteY3" fmla="*/ 0 h 599334"/>
                <a:gd name="connsiteX4" fmla="*/ 0 w 8328284"/>
                <a:gd name="connsiteY4" fmla="*/ 599334 h 599334"/>
                <a:gd name="connsiteX5" fmla="*/ 8328284 w 8328284"/>
                <a:gd name="connsiteY5" fmla="*/ 599334 h 599334"/>
                <a:gd name="connsiteX0" fmla="*/ 8329247 w 8329247"/>
                <a:gd name="connsiteY0" fmla="*/ 599334 h 599334"/>
                <a:gd name="connsiteX1" fmla="*/ 8173527 w 8329247"/>
                <a:gd name="connsiteY1" fmla="*/ 242876 h 599334"/>
                <a:gd name="connsiteX2" fmla="*/ 8293581 w 8329247"/>
                <a:gd name="connsiteY2" fmla="*/ 3506 h 599334"/>
                <a:gd name="connsiteX3" fmla="*/ 0 w 8329247"/>
                <a:gd name="connsiteY3" fmla="*/ 0 h 599334"/>
                <a:gd name="connsiteX4" fmla="*/ 963 w 8329247"/>
                <a:gd name="connsiteY4" fmla="*/ 599334 h 599334"/>
                <a:gd name="connsiteX5" fmla="*/ 8329247 w 8329247"/>
                <a:gd name="connsiteY5" fmla="*/ 599334 h 59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29247" h="599334">
                  <a:moveTo>
                    <a:pt x="8329247" y="599334"/>
                  </a:moveTo>
                  <a:lnTo>
                    <a:pt x="8173527" y="242876"/>
                  </a:lnTo>
                  <a:lnTo>
                    <a:pt x="8293581" y="3506"/>
                  </a:lnTo>
                  <a:lnTo>
                    <a:pt x="0" y="0"/>
                  </a:lnTo>
                  <a:lnTo>
                    <a:pt x="963" y="599334"/>
                  </a:lnTo>
                  <a:lnTo>
                    <a:pt x="8329247" y="599334"/>
                  </a:lnTo>
                  <a:close/>
                </a:path>
              </a:pathLst>
            </a:cu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noProof="0" dirty="0"/>
            </a:p>
          </p:txBody>
        </p:sp>
        <p:sp>
          <p:nvSpPr>
            <p:cNvPr id="22" name="Volný tvar 21"/>
            <p:cNvSpPr/>
            <p:nvPr userDrawn="1"/>
          </p:nvSpPr>
          <p:spPr>
            <a:xfrm>
              <a:off x="1907202" y="7204157"/>
              <a:ext cx="6537502" cy="357106"/>
            </a:xfrm>
            <a:custGeom>
              <a:avLst/>
              <a:gdLst>
                <a:gd name="connsiteX0" fmla="*/ 8186468 w 8186468"/>
                <a:gd name="connsiteY0" fmla="*/ 603849 h 603849"/>
                <a:gd name="connsiteX1" fmla="*/ 7962181 w 8186468"/>
                <a:gd name="connsiteY1" fmla="*/ 172528 h 603849"/>
                <a:gd name="connsiteX2" fmla="*/ 8074325 w 8186468"/>
                <a:gd name="connsiteY2" fmla="*/ 0 h 603849"/>
                <a:gd name="connsiteX3" fmla="*/ 112143 w 8186468"/>
                <a:gd name="connsiteY3" fmla="*/ 8626 h 603849"/>
                <a:gd name="connsiteX4" fmla="*/ 0 w 8186468"/>
                <a:gd name="connsiteY4" fmla="*/ 138023 h 603849"/>
                <a:gd name="connsiteX5" fmla="*/ 241540 w 8186468"/>
                <a:gd name="connsiteY5" fmla="*/ 603849 h 603849"/>
                <a:gd name="connsiteX6" fmla="*/ 8186468 w 8186468"/>
                <a:gd name="connsiteY6" fmla="*/ 603849 h 603849"/>
                <a:gd name="connsiteX0" fmla="*/ 8074325 w 8074325"/>
                <a:gd name="connsiteY0" fmla="*/ 603849 h 603849"/>
                <a:gd name="connsiteX1" fmla="*/ 7850038 w 8074325"/>
                <a:gd name="connsiteY1" fmla="*/ 172528 h 603849"/>
                <a:gd name="connsiteX2" fmla="*/ 7962182 w 8074325"/>
                <a:gd name="connsiteY2" fmla="*/ 0 h 603849"/>
                <a:gd name="connsiteX3" fmla="*/ 0 w 8074325"/>
                <a:gd name="connsiteY3" fmla="*/ 8626 h 603849"/>
                <a:gd name="connsiteX4" fmla="*/ 129397 w 8074325"/>
                <a:gd name="connsiteY4" fmla="*/ 603849 h 603849"/>
                <a:gd name="connsiteX5" fmla="*/ 8074325 w 8074325"/>
                <a:gd name="connsiteY5" fmla="*/ 603849 h 603849"/>
                <a:gd name="connsiteX0" fmla="*/ 8417032 w 8417032"/>
                <a:gd name="connsiteY0" fmla="*/ 603849 h 603849"/>
                <a:gd name="connsiteX1" fmla="*/ 8192745 w 8417032"/>
                <a:gd name="connsiteY1" fmla="*/ 172528 h 603849"/>
                <a:gd name="connsiteX2" fmla="*/ 8304889 w 8417032"/>
                <a:gd name="connsiteY2" fmla="*/ 0 h 603849"/>
                <a:gd name="connsiteX3" fmla="*/ 342707 w 8417032"/>
                <a:gd name="connsiteY3" fmla="*/ 8626 h 603849"/>
                <a:gd name="connsiteX4" fmla="*/ 0 w 8417032"/>
                <a:gd name="connsiteY4" fmla="*/ 601591 h 603849"/>
                <a:gd name="connsiteX5" fmla="*/ 8417032 w 8417032"/>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1591 h 603849"/>
                <a:gd name="connsiteX5" fmla="*/ 8417269 w 8417269"/>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3849 h 603849"/>
                <a:gd name="connsiteX5" fmla="*/ 8417269 w 8417269"/>
                <a:gd name="connsiteY5" fmla="*/ 603849 h 603849"/>
                <a:gd name="connsiteX0" fmla="*/ 8491108 w 8491108"/>
                <a:gd name="connsiteY0" fmla="*/ 603849 h 603849"/>
                <a:gd name="connsiteX1" fmla="*/ 8192982 w 8491108"/>
                <a:gd name="connsiteY1" fmla="*/ 172528 h 603849"/>
                <a:gd name="connsiteX2" fmla="*/ 8305126 w 8491108"/>
                <a:gd name="connsiteY2" fmla="*/ 0 h 603849"/>
                <a:gd name="connsiteX3" fmla="*/ 0 w 8491108"/>
                <a:gd name="connsiteY3" fmla="*/ 8626 h 603849"/>
                <a:gd name="connsiteX4" fmla="*/ 237 w 8491108"/>
                <a:gd name="connsiteY4" fmla="*/ 603849 h 603849"/>
                <a:gd name="connsiteX5" fmla="*/ 8491108 w 8491108"/>
                <a:gd name="connsiteY5" fmla="*/ 603849 h 603849"/>
                <a:gd name="connsiteX0" fmla="*/ 8491108 w 8491108"/>
                <a:gd name="connsiteY0" fmla="*/ 595828 h 595828"/>
                <a:gd name="connsiteX1" fmla="*/ 8192982 w 8491108"/>
                <a:gd name="connsiteY1" fmla="*/ 164507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5828 h 595828"/>
                <a:gd name="connsiteX1" fmla="*/ 8335388 w 8491108"/>
                <a:gd name="connsiteY1" fmla="*/ 239370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7306 h 597306"/>
                <a:gd name="connsiteX1" fmla="*/ 8335388 w 8491108"/>
                <a:gd name="connsiteY1" fmla="*/ 240848 h 597306"/>
                <a:gd name="connsiteX2" fmla="*/ 8455442 w 8491108"/>
                <a:gd name="connsiteY2" fmla="*/ 1478 h 597306"/>
                <a:gd name="connsiteX3" fmla="*/ 0 w 8491108"/>
                <a:gd name="connsiteY3" fmla="*/ 0 h 597306"/>
                <a:gd name="connsiteX4" fmla="*/ 237 w 8491108"/>
                <a:gd name="connsiteY4" fmla="*/ 597306 h 597306"/>
                <a:gd name="connsiteX5" fmla="*/ 8491108 w 8491108"/>
                <a:gd name="connsiteY5" fmla="*/ 597306 h 597306"/>
                <a:gd name="connsiteX0" fmla="*/ 8491108 w 8491108"/>
                <a:gd name="connsiteY0" fmla="*/ 597306 h 597306"/>
                <a:gd name="connsiteX1" fmla="*/ 8335388 w 8491108"/>
                <a:gd name="connsiteY1" fmla="*/ 240848 h 597306"/>
                <a:gd name="connsiteX2" fmla="*/ 2033595 w 8491108"/>
                <a:gd name="connsiteY2" fmla="*/ 594144 h 597306"/>
                <a:gd name="connsiteX3" fmla="*/ 0 w 8491108"/>
                <a:gd name="connsiteY3" fmla="*/ 0 h 597306"/>
                <a:gd name="connsiteX4" fmla="*/ 237 w 8491108"/>
                <a:gd name="connsiteY4" fmla="*/ 597306 h 597306"/>
                <a:gd name="connsiteX5" fmla="*/ 8491108 w 8491108"/>
                <a:gd name="connsiteY5" fmla="*/ 597306 h 597306"/>
                <a:gd name="connsiteX0" fmla="*/ 8490871 w 8490871"/>
                <a:gd name="connsiteY0" fmla="*/ 356458 h 356458"/>
                <a:gd name="connsiteX1" fmla="*/ 8335151 w 8490871"/>
                <a:gd name="connsiteY1" fmla="*/ 0 h 356458"/>
                <a:gd name="connsiteX2" fmla="*/ 2033358 w 8490871"/>
                <a:gd name="connsiteY2" fmla="*/ 353296 h 356458"/>
                <a:gd name="connsiteX3" fmla="*/ 0 w 8490871"/>
                <a:gd name="connsiteY3" fmla="*/ 356458 h 356458"/>
                <a:gd name="connsiteX4" fmla="*/ 8490871 w 8490871"/>
                <a:gd name="connsiteY4" fmla="*/ 356458 h 356458"/>
                <a:gd name="connsiteX0" fmla="*/ 6457513 w 6457513"/>
                <a:gd name="connsiteY0" fmla="*/ 356458 h 356458"/>
                <a:gd name="connsiteX1" fmla="*/ 6301793 w 6457513"/>
                <a:gd name="connsiteY1" fmla="*/ 0 h 356458"/>
                <a:gd name="connsiteX2" fmla="*/ 0 w 6457513"/>
                <a:gd name="connsiteY2" fmla="*/ 353296 h 356458"/>
                <a:gd name="connsiteX3" fmla="*/ 6457513 w 6457513"/>
                <a:gd name="connsiteY3" fmla="*/ 356458 h 356458"/>
                <a:gd name="connsiteX0" fmla="*/ 6448118 w 6448118"/>
                <a:gd name="connsiteY0" fmla="*/ 356458 h 357106"/>
                <a:gd name="connsiteX1" fmla="*/ 6292398 w 6448118"/>
                <a:gd name="connsiteY1" fmla="*/ 0 h 357106"/>
                <a:gd name="connsiteX2" fmla="*/ 0 w 6448118"/>
                <a:gd name="connsiteY2" fmla="*/ 357106 h 357106"/>
                <a:gd name="connsiteX3" fmla="*/ 6448118 w 6448118"/>
                <a:gd name="connsiteY3" fmla="*/ 356458 h 357106"/>
              </a:gdLst>
              <a:ahLst/>
              <a:cxnLst>
                <a:cxn ang="0">
                  <a:pos x="connsiteX0" y="connsiteY0"/>
                </a:cxn>
                <a:cxn ang="0">
                  <a:pos x="connsiteX1" y="connsiteY1"/>
                </a:cxn>
                <a:cxn ang="0">
                  <a:pos x="connsiteX2" y="connsiteY2"/>
                </a:cxn>
                <a:cxn ang="0">
                  <a:pos x="connsiteX3" y="connsiteY3"/>
                </a:cxn>
              </a:cxnLst>
              <a:rect l="l" t="t" r="r" b="b"/>
              <a:pathLst>
                <a:path w="6448118" h="357106">
                  <a:moveTo>
                    <a:pt x="6448118" y="356458"/>
                  </a:moveTo>
                  <a:lnTo>
                    <a:pt x="6292398" y="0"/>
                  </a:lnTo>
                  <a:lnTo>
                    <a:pt x="0" y="357106"/>
                  </a:lnTo>
                  <a:lnTo>
                    <a:pt x="6448118" y="356458"/>
                  </a:lnTo>
                  <a:close/>
                </a:path>
              </a:pathLst>
            </a:custGeom>
            <a:solidFill>
              <a:srgbClr val="B6B6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noProof="0" dirty="0"/>
            </a:p>
          </p:txBody>
        </p:sp>
        <p:sp>
          <p:nvSpPr>
            <p:cNvPr id="23" name="Volný tvar 22"/>
            <p:cNvSpPr/>
            <p:nvPr userDrawn="1"/>
          </p:nvSpPr>
          <p:spPr>
            <a:xfrm>
              <a:off x="3635636" y="6964787"/>
              <a:ext cx="4772907" cy="239370"/>
            </a:xfrm>
            <a:custGeom>
              <a:avLst/>
              <a:gdLst>
                <a:gd name="connsiteX0" fmla="*/ 8186468 w 8186468"/>
                <a:gd name="connsiteY0" fmla="*/ 603849 h 603849"/>
                <a:gd name="connsiteX1" fmla="*/ 7962181 w 8186468"/>
                <a:gd name="connsiteY1" fmla="*/ 172528 h 603849"/>
                <a:gd name="connsiteX2" fmla="*/ 8074325 w 8186468"/>
                <a:gd name="connsiteY2" fmla="*/ 0 h 603849"/>
                <a:gd name="connsiteX3" fmla="*/ 112143 w 8186468"/>
                <a:gd name="connsiteY3" fmla="*/ 8626 h 603849"/>
                <a:gd name="connsiteX4" fmla="*/ 0 w 8186468"/>
                <a:gd name="connsiteY4" fmla="*/ 138023 h 603849"/>
                <a:gd name="connsiteX5" fmla="*/ 241540 w 8186468"/>
                <a:gd name="connsiteY5" fmla="*/ 603849 h 603849"/>
                <a:gd name="connsiteX6" fmla="*/ 8186468 w 8186468"/>
                <a:gd name="connsiteY6" fmla="*/ 603849 h 603849"/>
                <a:gd name="connsiteX0" fmla="*/ 8074325 w 8074325"/>
                <a:gd name="connsiteY0" fmla="*/ 603849 h 603849"/>
                <a:gd name="connsiteX1" fmla="*/ 7850038 w 8074325"/>
                <a:gd name="connsiteY1" fmla="*/ 172528 h 603849"/>
                <a:gd name="connsiteX2" fmla="*/ 7962182 w 8074325"/>
                <a:gd name="connsiteY2" fmla="*/ 0 h 603849"/>
                <a:gd name="connsiteX3" fmla="*/ 0 w 8074325"/>
                <a:gd name="connsiteY3" fmla="*/ 8626 h 603849"/>
                <a:gd name="connsiteX4" fmla="*/ 129397 w 8074325"/>
                <a:gd name="connsiteY4" fmla="*/ 603849 h 603849"/>
                <a:gd name="connsiteX5" fmla="*/ 8074325 w 8074325"/>
                <a:gd name="connsiteY5" fmla="*/ 603849 h 603849"/>
                <a:gd name="connsiteX0" fmla="*/ 8417032 w 8417032"/>
                <a:gd name="connsiteY0" fmla="*/ 603849 h 603849"/>
                <a:gd name="connsiteX1" fmla="*/ 8192745 w 8417032"/>
                <a:gd name="connsiteY1" fmla="*/ 172528 h 603849"/>
                <a:gd name="connsiteX2" fmla="*/ 8304889 w 8417032"/>
                <a:gd name="connsiteY2" fmla="*/ 0 h 603849"/>
                <a:gd name="connsiteX3" fmla="*/ 342707 w 8417032"/>
                <a:gd name="connsiteY3" fmla="*/ 8626 h 603849"/>
                <a:gd name="connsiteX4" fmla="*/ 0 w 8417032"/>
                <a:gd name="connsiteY4" fmla="*/ 601591 h 603849"/>
                <a:gd name="connsiteX5" fmla="*/ 8417032 w 8417032"/>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1591 h 603849"/>
                <a:gd name="connsiteX5" fmla="*/ 8417269 w 8417269"/>
                <a:gd name="connsiteY5" fmla="*/ 603849 h 603849"/>
                <a:gd name="connsiteX0" fmla="*/ 8417269 w 8417269"/>
                <a:gd name="connsiteY0" fmla="*/ 603849 h 603849"/>
                <a:gd name="connsiteX1" fmla="*/ 8192982 w 8417269"/>
                <a:gd name="connsiteY1" fmla="*/ 172528 h 603849"/>
                <a:gd name="connsiteX2" fmla="*/ 8305126 w 8417269"/>
                <a:gd name="connsiteY2" fmla="*/ 0 h 603849"/>
                <a:gd name="connsiteX3" fmla="*/ 0 w 8417269"/>
                <a:gd name="connsiteY3" fmla="*/ 8626 h 603849"/>
                <a:gd name="connsiteX4" fmla="*/ 237 w 8417269"/>
                <a:gd name="connsiteY4" fmla="*/ 603849 h 603849"/>
                <a:gd name="connsiteX5" fmla="*/ 8417269 w 8417269"/>
                <a:gd name="connsiteY5" fmla="*/ 603849 h 603849"/>
                <a:gd name="connsiteX0" fmla="*/ 8491108 w 8491108"/>
                <a:gd name="connsiteY0" fmla="*/ 603849 h 603849"/>
                <a:gd name="connsiteX1" fmla="*/ 8192982 w 8491108"/>
                <a:gd name="connsiteY1" fmla="*/ 172528 h 603849"/>
                <a:gd name="connsiteX2" fmla="*/ 8305126 w 8491108"/>
                <a:gd name="connsiteY2" fmla="*/ 0 h 603849"/>
                <a:gd name="connsiteX3" fmla="*/ 0 w 8491108"/>
                <a:gd name="connsiteY3" fmla="*/ 8626 h 603849"/>
                <a:gd name="connsiteX4" fmla="*/ 237 w 8491108"/>
                <a:gd name="connsiteY4" fmla="*/ 603849 h 603849"/>
                <a:gd name="connsiteX5" fmla="*/ 8491108 w 8491108"/>
                <a:gd name="connsiteY5" fmla="*/ 603849 h 603849"/>
                <a:gd name="connsiteX0" fmla="*/ 8491108 w 8491108"/>
                <a:gd name="connsiteY0" fmla="*/ 595828 h 595828"/>
                <a:gd name="connsiteX1" fmla="*/ 8192982 w 8491108"/>
                <a:gd name="connsiteY1" fmla="*/ 164507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5828 h 595828"/>
                <a:gd name="connsiteX1" fmla="*/ 8335388 w 8491108"/>
                <a:gd name="connsiteY1" fmla="*/ 239370 h 595828"/>
                <a:gd name="connsiteX2" fmla="*/ 8455442 w 8491108"/>
                <a:gd name="connsiteY2" fmla="*/ 0 h 595828"/>
                <a:gd name="connsiteX3" fmla="*/ 0 w 8491108"/>
                <a:gd name="connsiteY3" fmla="*/ 605 h 595828"/>
                <a:gd name="connsiteX4" fmla="*/ 237 w 8491108"/>
                <a:gd name="connsiteY4" fmla="*/ 595828 h 595828"/>
                <a:gd name="connsiteX5" fmla="*/ 8491108 w 8491108"/>
                <a:gd name="connsiteY5" fmla="*/ 595828 h 595828"/>
                <a:gd name="connsiteX0" fmla="*/ 8491108 w 8491108"/>
                <a:gd name="connsiteY0" fmla="*/ 597306 h 597306"/>
                <a:gd name="connsiteX1" fmla="*/ 8335388 w 8491108"/>
                <a:gd name="connsiteY1" fmla="*/ 240848 h 597306"/>
                <a:gd name="connsiteX2" fmla="*/ 8455442 w 8491108"/>
                <a:gd name="connsiteY2" fmla="*/ 1478 h 597306"/>
                <a:gd name="connsiteX3" fmla="*/ 0 w 8491108"/>
                <a:gd name="connsiteY3" fmla="*/ 0 h 597306"/>
                <a:gd name="connsiteX4" fmla="*/ 237 w 8491108"/>
                <a:gd name="connsiteY4" fmla="*/ 597306 h 597306"/>
                <a:gd name="connsiteX5" fmla="*/ 8491108 w 8491108"/>
                <a:gd name="connsiteY5" fmla="*/ 597306 h 597306"/>
                <a:gd name="connsiteX0" fmla="*/ 3747792 w 8455442"/>
                <a:gd name="connsiteY0" fmla="*/ 0 h 601133"/>
                <a:gd name="connsiteX1" fmla="*/ 8335388 w 8455442"/>
                <a:gd name="connsiteY1" fmla="*/ 244675 h 601133"/>
                <a:gd name="connsiteX2" fmla="*/ 8455442 w 8455442"/>
                <a:gd name="connsiteY2" fmla="*/ 5305 h 601133"/>
                <a:gd name="connsiteX3" fmla="*/ 0 w 8455442"/>
                <a:gd name="connsiteY3" fmla="*/ 3827 h 601133"/>
                <a:gd name="connsiteX4" fmla="*/ 237 w 8455442"/>
                <a:gd name="connsiteY4" fmla="*/ 601133 h 601133"/>
                <a:gd name="connsiteX5" fmla="*/ 3747792 w 8455442"/>
                <a:gd name="connsiteY5" fmla="*/ 0 h 601133"/>
                <a:gd name="connsiteX0" fmla="*/ 3747792 w 8455442"/>
                <a:gd name="connsiteY0" fmla="*/ 0 h 244675"/>
                <a:gd name="connsiteX1" fmla="*/ 8335388 w 8455442"/>
                <a:gd name="connsiteY1" fmla="*/ 244675 h 244675"/>
                <a:gd name="connsiteX2" fmla="*/ 8455442 w 8455442"/>
                <a:gd name="connsiteY2" fmla="*/ 5305 h 244675"/>
                <a:gd name="connsiteX3" fmla="*/ 0 w 8455442"/>
                <a:gd name="connsiteY3" fmla="*/ 3827 h 244675"/>
                <a:gd name="connsiteX4" fmla="*/ 3747792 w 8455442"/>
                <a:gd name="connsiteY4" fmla="*/ 0 h 244675"/>
                <a:gd name="connsiteX0" fmla="*/ 0 w 4707650"/>
                <a:gd name="connsiteY0" fmla="*/ 0 h 244675"/>
                <a:gd name="connsiteX1" fmla="*/ 4587596 w 4707650"/>
                <a:gd name="connsiteY1" fmla="*/ 244675 h 244675"/>
                <a:gd name="connsiteX2" fmla="*/ 4707650 w 4707650"/>
                <a:gd name="connsiteY2" fmla="*/ 5305 h 244675"/>
                <a:gd name="connsiteX3" fmla="*/ 0 w 4707650"/>
                <a:gd name="connsiteY3" fmla="*/ 0 h 244675"/>
                <a:gd name="connsiteX0" fmla="*/ 0 w 4707650"/>
                <a:gd name="connsiteY0" fmla="*/ 410 h 239370"/>
                <a:gd name="connsiteX1" fmla="*/ 4587596 w 4707650"/>
                <a:gd name="connsiteY1" fmla="*/ 239370 h 239370"/>
                <a:gd name="connsiteX2" fmla="*/ 4707650 w 4707650"/>
                <a:gd name="connsiteY2" fmla="*/ 0 h 239370"/>
                <a:gd name="connsiteX3" fmla="*/ 0 w 4707650"/>
                <a:gd name="connsiteY3" fmla="*/ 410 h 239370"/>
              </a:gdLst>
              <a:ahLst/>
              <a:cxnLst>
                <a:cxn ang="0">
                  <a:pos x="connsiteX0" y="connsiteY0"/>
                </a:cxn>
                <a:cxn ang="0">
                  <a:pos x="connsiteX1" y="connsiteY1"/>
                </a:cxn>
                <a:cxn ang="0">
                  <a:pos x="connsiteX2" y="connsiteY2"/>
                </a:cxn>
                <a:cxn ang="0">
                  <a:pos x="connsiteX3" y="connsiteY3"/>
                </a:cxn>
              </a:cxnLst>
              <a:rect l="l" t="t" r="r" b="b"/>
              <a:pathLst>
                <a:path w="4707650" h="239370">
                  <a:moveTo>
                    <a:pt x="0" y="410"/>
                  </a:moveTo>
                  <a:lnTo>
                    <a:pt x="4587596" y="239370"/>
                  </a:lnTo>
                  <a:lnTo>
                    <a:pt x="4707650" y="0"/>
                  </a:lnTo>
                  <a:lnTo>
                    <a:pt x="0" y="410"/>
                  </a:lnTo>
                  <a:close/>
                </a:path>
              </a:pathLst>
            </a:custGeom>
            <a:solidFill>
              <a:srgbClr val="C3C3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noProof="0" dirty="0"/>
            </a:p>
          </p:txBody>
        </p:sp>
        <p:cxnSp>
          <p:nvCxnSpPr>
            <p:cNvPr id="24" name="Přímá spojnice 23"/>
            <p:cNvCxnSpPr/>
            <p:nvPr userDrawn="1"/>
          </p:nvCxnSpPr>
          <p:spPr>
            <a:xfrm flipH="1" flipV="1">
              <a:off x="8389400" y="6966692"/>
              <a:ext cx="2304000" cy="402"/>
            </a:xfrm>
            <a:prstGeom prst="line">
              <a:avLst/>
            </a:prstGeom>
            <a:ln w="6350">
              <a:solidFill>
                <a:srgbClr val="C3C3C3"/>
              </a:solidFill>
            </a:ln>
          </p:spPr>
          <p:style>
            <a:lnRef idx="1">
              <a:schemeClr val="accent1"/>
            </a:lnRef>
            <a:fillRef idx="0">
              <a:schemeClr val="accent1"/>
            </a:fillRef>
            <a:effectRef idx="0">
              <a:schemeClr val="accent1"/>
            </a:effectRef>
            <a:fontRef idx="minor">
              <a:schemeClr val="tx1"/>
            </a:fontRef>
          </p:style>
        </p:cxnSp>
      </p:grpSp>
      <p:graphicFrame>
        <p:nvGraphicFramePr>
          <p:cNvPr id="6" name="Objekt 5" hidden="1"/>
          <p:cNvGraphicFramePr>
            <a:graphicFrameLocks noChangeAspect="1"/>
          </p:cNvGraphicFramePr>
          <p:nvPr userDrawn="1">
            <p:custDataLst>
              <p:tags r:id="rId1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14" imgW="399" imgH="398" progId="TCLayout.ActiveDocument.1">
                  <p:embed/>
                </p:oleObj>
              </mc:Choice>
              <mc:Fallback>
                <p:oleObj name="think-cell Slide" r:id="rId14" imgW="399" imgH="398" progId="TCLayout.ActiveDocument.1">
                  <p:embed/>
                  <p:pic>
                    <p:nvPicPr>
                      <p:cNvPr id="6" name="Objekt 5" hidden="1"/>
                      <p:cNvPicPr/>
                      <p:nvPr/>
                    </p:nvPicPr>
                    <p:blipFill>
                      <a:blip r:embed="rId15"/>
                      <a:stretch>
                        <a:fillRect/>
                      </a:stretch>
                    </p:blipFill>
                    <p:spPr>
                      <a:xfrm>
                        <a:off x="1589" y="1589"/>
                        <a:ext cx="1587" cy="1587"/>
                      </a:xfrm>
                      <a:prstGeom prst="rect">
                        <a:avLst/>
                      </a:prstGeom>
                    </p:spPr>
                  </p:pic>
                </p:oleObj>
              </mc:Fallback>
            </mc:AlternateContent>
          </a:graphicData>
        </a:graphic>
      </p:graphicFrame>
      <p:sp>
        <p:nvSpPr>
          <p:cNvPr id="3" name="Zástupný symbol pro text 2"/>
          <p:cNvSpPr>
            <a:spLocks noGrp="1"/>
          </p:cNvSpPr>
          <p:nvPr>
            <p:ph type="body" idx="1"/>
          </p:nvPr>
        </p:nvSpPr>
        <p:spPr>
          <a:xfrm>
            <a:off x="342850" y="1439562"/>
            <a:ext cx="10006115" cy="5183685"/>
          </a:xfrm>
          <a:prstGeom prst="rect">
            <a:avLst/>
          </a:prstGeom>
        </p:spPr>
        <p:txBody>
          <a:bodyPr vert="horz" lIns="0" tIns="0" rIns="0" bIns="0" rtlCol="0">
            <a:normAutofit/>
          </a:bodyPr>
          <a:lstStyle/>
          <a:p>
            <a:pPr lvl="0"/>
            <a:r>
              <a:rPr lang="cs-CZ" noProof="0" dirty="0"/>
              <a:t>První úroveň</a:t>
            </a:r>
          </a:p>
          <a:p>
            <a:pPr lvl="1"/>
            <a:r>
              <a:rPr lang="cs-CZ" noProof="0" dirty="0"/>
              <a:t>Druhá úroveň</a:t>
            </a:r>
          </a:p>
          <a:p>
            <a:pPr lvl="2"/>
            <a:r>
              <a:rPr lang="cs-CZ" noProof="0" dirty="0"/>
              <a:t>Třetí úroveň</a:t>
            </a:r>
          </a:p>
          <a:p>
            <a:pPr lvl="3"/>
            <a:r>
              <a:rPr lang="cs-CZ" noProof="0" dirty="0"/>
              <a:t>Čtvrtá úroveň</a:t>
            </a:r>
          </a:p>
          <a:p>
            <a:pPr lvl="4"/>
            <a:r>
              <a:rPr lang="cs-CZ" noProof="0" dirty="0"/>
              <a:t>Pátá úroveň</a:t>
            </a:r>
          </a:p>
        </p:txBody>
      </p:sp>
      <p:sp>
        <p:nvSpPr>
          <p:cNvPr id="5" name="Zástupný symbol pro zápatí 4"/>
          <p:cNvSpPr>
            <a:spLocks noGrp="1"/>
          </p:cNvSpPr>
          <p:nvPr>
            <p:ph type="ftr" sz="quarter" idx="3"/>
          </p:nvPr>
        </p:nvSpPr>
        <p:spPr>
          <a:xfrm>
            <a:off x="719894" y="7162496"/>
            <a:ext cx="6173596" cy="179962"/>
          </a:xfrm>
          <a:prstGeom prst="rect">
            <a:avLst/>
          </a:prstGeom>
        </p:spPr>
        <p:txBody>
          <a:bodyPr vert="horz" lIns="0" tIns="0" rIns="0" bIns="0" rtlCol="0" anchor="b" anchorCtr="0"/>
          <a:lstStyle>
            <a:lvl1pPr algn="l">
              <a:defRPr sz="700">
                <a:solidFill>
                  <a:schemeClr val="tx1"/>
                </a:solidFill>
                <a:latin typeface="SKODA Next" panose="020B0504020603020204" pitchFamily="34" charset="0"/>
                <a:ea typeface="Verdana" pitchFamily="34" charset="0"/>
                <a:cs typeface="Verdana" pitchFamily="34" charset="0"/>
              </a:defRPr>
            </a:lvl1pPr>
          </a:lstStyle>
          <a:p>
            <a:endParaRPr lang="cs-CZ" dirty="0"/>
          </a:p>
        </p:txBody>
      </p:sp>
      <p:sp>
        <p:nvSpPr>
          <p:cNvPr id="7" name="Zástupný symbol pro číslo snímku 6"/>
          <p:cNvSpPr>
            <a:spLocks noGrp="1"/>
          </p:cNvSpPr>
          <p:nvPr>
            <p:ph type="sldNum" sz="quarter" idx="4"/>
          </p:nvPr>
        </p:nvSpPr>
        <p:spPr>
          <a:xfrm>
            <a:off x="342849" y="7162496"/>
            <a:ext cx="269960" cy="179962"/>
          </a:xfrm>
          <a:prstGeom prst="rect">
            <a:avLst/>
          </a:prstGeom>
        </p:spPr>
        <p:txBody>
          <a:bodyPr vert="horz" lIns="0" tIns="0" rIns="0" bIns="0" rtlCol="0" anchor="b" anchorCtr="0"/>
          <a:lstStyle>
            <a:lvl1pPr algn="l">
              <a:defRPr sz="700">
                <a:solidFill>
                  <a:schemeClr val="tx1"/>
                </a:solidFill>
                <a:latin typeface="SKODA Next" panose="020B0504020603020204" pitchFamily="34" charset="0"/>
                <a:ea typeface="Verdana" pitchFamily="34" charset="0"/>
                <a:cs typeface="Verdana" pitchFamily="34" charset="0"/>
              </a:defRPr>
            </a:lvl1pPr>
          </a:lstStyle>
          <a:p>
            <a:fld id="{1E956721-BB38-4972-8ACD-5A2C9377E3B4}" type="slidenum">
              <a:rPr lang="cs-CZ" smtClean="0"/>
              <a:pPr/>
              <a:t>‹#›</a:t>
            </a:fld>
            <a:endParaRPr lang="cs-CZ" dirty="0"/>
          </a:p>
        </p:txBody>
      </p:sp>
      <p:sp>
        <p:nvSpPr>
          <p:cNvPr id="2" name="Zástupný symbol pro nadpis 1"/>
          <p:cNvSpPr>
            <a:spLocks noGrp="1"/>
          </p:cNvSpPr>
          <p:nvPr>
            <p:ph type="title"/>
          </p:nvPr>
        </p:nvSpPr>
        <p:spPr>
          <a:xfrm>
            <a:off x="342850" y="360287"/>
            <a:ext cx="10006115" cy="431909"/>
          </a:xfrm>
          <a:prstGeom prst="rect">
            <a:avLst/>
          </a:prstGeom>
        </p:spPr>
        <p:txBody>
          <a:bodyPr vert="horz" lIns="0" tIns="0" rIns="0" bIns="0" rtlCol="0" anchor="t" anchorCtr="0">
            <a:noAutofit/>
          </a:bodyPr>
          <a:lstStyle/>
          <a:p>
            <a:r>
              <a:rPr lang="cs-CZ" noProof="0" dirty="0"/>
              <a:t>Nadpis (shrnutí stránky)</a:t>
            </a:r>
          </a:p>
        </p:txBody>
      </p:sp>
      <p:sp>
        <p:nvSpPr>
          <p:cNvPr id="14" name="TextovéPole 13"/>
          <p:cNvSpPr txBox="1"/>
          <p:nvPr userDrawn="1"/>
        </p:nvSpPr>
        <p:spPr>
          <a:xfrm>
            <a:off x="7560000" y="7354800"/>
            <a:ext cx="720000" cy="108000"/>
          </a:xfrm>
          <a:prstGeom prst="rect">
            <a:avLst/>
          </a:prstGeom>
          <a:noFill/>
        </p:spPr>
        <p:txBody>
          <a:bodyPr wrap="square" lIns="0" tIns="0" rIns="0" bIns="0" rtlCol="0" anchor="b" anchorCtr="0">
            <a:normAutofit/>
          </a:bodyPr>
          <a:lstStyle/>
          <a:p>
            <a:pPr algn="r"/>
            <a:r>
              <a:rPr lang="en-GB" sz="700" noProof="0" dirty="0">
                <a:latin typeface="SKODA Next" panose="020B0504020603020204" pitchFamily="34" charset="0"/>
                <a:cs typeface="Arial" panose="020B0604020202020204" pitchFamily="34" charset="0"/>
              </a:rPr>
              <a:t>CONFIDENTIAL</a:t>
            </a:r>
          </a:p>
        </p:txBody>
      </p:sp>
    </p:spTree>
    <p:extLst>
      <p:ext uri="{BB962C8B-B14F-4D97-AF65-F5344CB8AC3E}">
        <p14:creationId xmlns:p14="http://schemas.microsoft.com/office/powerpoint/2010/main" val="1096328391"/>
      </p:ext>
    </p:extLst>
  </p:cSld>
  <p:clrMap bg1="lt1" tx1="dk1" bg2="lt2" tx2="dk2" accent1="accent1" accent2="accent2" accent3="accent3" accent4="accent4" accent5="accent5" accent6="accent6" hlink="hlink" folHlink="folHlink"/>
  <p:sldLayoutIdLst>
    <p:sldLayoutId id="2147483714" r:id="rId1"/>
    <p:sldLayoutId id="2147483740"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Lst>
  <p:hf hdr="0" ftr="0" dt="0"/>
  <p:txStyles>
    <p:titleStyle>
      <a:lvl1pPr algn="l" defTabSz="1043056" rtl="0" eaLnBrk="1" latinLnBrk="0" hangingPunct="1">
        <a:lnSpc>
          <a:spcPts val="3200"/>
        </a:lnSpc>
        <a:spcBef>
          <a:spcPct val="0"/>
        </a:spcBef>
        <a:buNone/>
        <a:defRPr sz="2800" b="1" kern="1200">
          <a:solidFill>
            <a:schemeClr val="tx1"/>
          </a:solidFill>
          <a:latin typeface="SKODA Next" panose="020B0504020603020204" pitchFamily="34" charset="0"/>
          <a:ea typeface="Verdana" pitchFamily="34" charset="0"/>
          <a:cs typeface="Verdana" pitchFamily="34" charset="0"/>
        </a:defRPr>
      </a:lvl1pPr>
    </p:titleStyle>
    <p:bodyStyle>
      <a:lvl1pPr marL="18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1pPr>
      <a:lvl2pPr marL="36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2pPr>
      <a:lvl3pPr marL="54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3pPr>
      <a:lvl4pPr marL="72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4pPr>
      <a:lvl5pPr marL="900000" indent="-180000" algn="l" defTabSz="1043056" rtl="0" eaLnBrk="1" latinLnBrk="0" hangingPunct="1">
        <a:lnSpc>
          <a:spcPct val="115000"/>
        </a:lnSpc>
        <a:spcBef>
          <a:spcPts val="0"/>
        </a:spcBef>
        <a:buClr>
          <a:schemeClr val="bg1">
            <a:lumMod val="85000"/>
          </a:schemeClr>
        </a:buClr>
        <a:buSzPct val="100000"/>
        <a:buFont typeface="Wingdings" panose="05000000000000000000" pitchFamily="2" charset="2"/>
        <a:buChar char="§"/>
        <a:defRPr sz="1600" kern="1200">
          <a:solidFill>
            <a:schemeClr val="tx1"/>
          </a:solidFill>
          <a:latin typeface="SKODA Next" panose="020B0504020603020204" pitchFamily="34" charset="0"/>
          <a:ea typeface="Verdana" pitchFamily="34" charset="0"/>
          <a:cs typeface="Verdana" pitchFamily="34" charset="0"/>
        </a:defRPr>
      </a:lvl5pPr>
      <a:lvl6pPr marL="2868404"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9932"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1460"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2987" indent="-260764" algn="l" defTabSz="1043056"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cs-CZ"/>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39"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7" userDrawn="1">
          <p15:clr>
            <a:srgbClr val="F26B43"/>
          </p15:clr>
        </p15:guide>
        <p15:guide id="2" pos="3255" userDrawn="1">
          <p15:clr>
            <a:srgbClr val="F26B43"/>
          </p15:clr>
        </p15:guide>
        <p15:guide id="3" pos="2393" userDrawn="1">
          <p15:clr>
            <a:srgbClr val="F26B43"/>
          </p15:clr>
        </p15:guide>
        <p15:guide id="4" pos="2166" userDrawn="1">
          <p15:clr>
            <a:srgbClr val="F26B43"/>
          </p15:clr>
        </p15:guide>
        <p15:guide id="5" pos="1304" userDrawn="1">
          <p15:clr>
            <a:srgbClr val="F26B43"/>
          </p15:clr>
        </p15:guide>
        <p15:guide id="6" pos="1077" userDrawn="1">
          <p15:clr>
            <a:srgbClr val="F26B43"/>
          </p15:clr>
        </p15:guide>
        <p15:guide id="7" pos="216" userDrawn="1">
          <p15:clr>
            <a:srgbClr val="F26B43"/>
          </p15:clr>
        </p15:guide>
        <p15:guide id="8" pos="3480" userDrawn="1">
          <p15:clr>
            <a:srgbClr val="F26B43"/>
          </p15:clr>
        </p15:guide>
        <p15:guide id="9" pos="4342" userDrawn="1">
          <p15:clr>
            <a:srgbClr val="F26B43"/>
          </p15:clr>
        </p15:guide>
        <p15:guide id="10" pos="4569" userDrawn="1">
          <p15:clr>
            <a:srgbClr val="F26B43"/>
          </p15:clr>
        </p15:guide>
        <p15:guide id="11" pos="5431" userDrawn="1">
          <p15:clr>
            <a:srgbClr val="F26B43"/>
          </p15:clr>
        </p15:guide>
        <p15:guide id="12" pos="5658" userDrawn="1">
          <p15:clr>
            <a:srgbClr val="F26B43"/>
          </p15:clr>
        </p15:guide>
        <p15:guide id="13" pos="6519" userDrawn="1">
          <p15:clr>
            <a:srgbClr val="F26B43"/>
          </p15:clr>
        </p15:guide>
        <p15:guide id="14" orient="horz" pos="907" userDrawn="1">
          <p15:clr>
            <a:srgbClr val="F26B43"/>
          </p15:clr>
        </p15:guide>
        <p15:guide id="15" orient="horz" pos="4172" userDrawn="1">
          <p15:clr>
            <a:srgbClr val="F26B43"/>
          </p15:clr>
        </p15:guide>
        <p15:guide id="16" orient="horz" pos="2471" userDrawn="1">
          <p15:clr>
            <a:srgbClr val="F26B43"/>
          </p15:clr>
        </p15:guide>
        <p15:guide id="17" orient="horz" pos="260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eg"/><Relationship Id="rId1" Type="http://schemas.openxmlformats.org/officeDocument/2006/relationships/slideLayout" Target="../slideLayouts/slideLayout11.xml"/><Relationship Id="rId6" Type="http://schemas.openxmlformats.org/officeDocument/2006/relationships/image" Target="../media/image20.png"/><Relationship Id="rId5" Type="http://schemas.openxmlformats.org/officeDocument/2006/relationships/image" Target="../media/image6.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eg"/><Relationship Id="rId1" Type="http://schemas.openxmlformats.org/officeDocument/2006/relationships/slideLayout" Target="../slideLayouts/slideLayout11.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11.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27.jpeg"/><Relationship Id="rId2" Type="http://schemas.openxmlformats.org/officeDocument/2006/relationships/image" Target="../media/image12.png"/><Relationship Id="rId1" Type="http://schemas.openxmlformats.org/officeDocument/2006/relationships/slideLayout" Target="../slideLayouts/slideLayout1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6.png"/></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11.xml"/><Relationship Id="rId5" Type="http://schemas.openxmlformats.org/officeDocument/2006/relationships/image" Target="../media/image35.png"/><Relationship Id="rId4" Type="http://schemas.openxmlformats.org/officeDocument/2006/relationships/image" Target="../media/image34.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png"/><Relationship Id="rId1" Type="http://schemas.openxmlformats.org/officeDocument/2006/relationships/slideLayout" Target="../slideLayouts/slideLayout11.xml"/><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Layout" Target="../slideLayouts/slideLayout11.xml"/><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 Id="rId5" Type="http://schemas.openxmlformats.org/officeDocument/2006/relationships/image" Target="../media/image16.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 Id="rId5" Type="http://schemas.openxmlformats.org/officeDocument/2006/relationships/image" Target="../media/image17.jpe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 Id="rId5" Type="http://schemas.openxmlformats.org/officeDocument/2006/relationships/image" Target="../media/image18.png"/><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10"/>
          </p:nvPr>
        </p:nvSpPr>
        <p:spPr/>
        <p:txBody>
          <a:bodyPr/>
          <a:lstStyle/>
          <a:p>
            <a:fld id="{1E956721-BB38-4972-8ACD-5A2C9377E3B4}" type="slidenum">
              <a:rPr lang="cs-CZ" sz="1000" smtClean="0"/>
              <a:pPr/>
              <a:t>1</a:t>
            </a:fld>
            <a:endParaRPr lang="cs-CZ" sz="1000" dirty="0"/>
          </a:p>
        </p:txBody>
      </p:sp>
      <p:sp>
        <p:nvSpPr>
          <p:cNvPr id="6" name="Rectangle 5">
            <a:extLst>
              <a:ext uri="{FF2B5EF4-FFF2-40B4-BE49-F238E27FC236}">
                <a16:creationId xmlns:a16="http://schemas.microsoft.com/office/drawing/2014/main" id="{B5440A8D-4AEF-4888-A0C4-45FD1C1C52D6}"/>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590CD9B-34D5-4170-BBB5-1C167FBD25D5}"/>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6754E1D-076B-4A5C-9887-8A266EB11C91}"/>
              </a:ext>
            </a:extLst>
          </p:cNvPr>
          <p:cNvPicPr>
            <a:picLocks noChangeAspect="1"/>
          </p:cNvPicPr>
          <p:nvPr/>
        </p:nvPicPr>
        <p:blipFill>
          <a:blip r:embed="rId3"/>
          <a:stretch>
            <a:fillRect/>
          </a:stretch>
        </p:blipFill>
        <p:spPr>
          <a:xfrm>
            <a:off x="8575407" y="7067604"/>
            <a:ext cx="465011" cy="474311"/>
          </a:xfrm>
          <a:prstGeom prst="rect">
            <a:avLst/>
          </a:prstGeom>
        </p:spPr>
      </p:pic>
      <p:pic>
        <p:nvPicPr>
          <p:cNvPr id="10" name="Picture 9">
            <a:extLst>
              <a:ext uri="{FF2B5EF4-FFF2-40B4-BE49-F238E27FC236}">
                <a16:creationId xmlns:a16="http://schemas.microsoft.com/office/drawing/2014/main" id="{8BBDBBDF-E132-4ABA-A662-D02CA992DE7A}"/>
              </a:ext>
            </a:extLst>
          </p:cNvPr>
          <p:cNvPicPr>
            <a:picLocks noChangeAspect="1"/>
          </p:cNvPicPr>
          <p:nvPr/>
        </p:nvPicPr>
        <p:blipFill>
          <a:blip r:embed="rId4"/>
          <a:stretch>
            <a:fillRect/>
          </a:stretch>
        </p:blipFill>
        <p:spPr>
          <a:xfrm>
            <a:off x="239782" y="228792"/>
            <a:ext cx="1401344" cy="1566173"/>
          </a:xfrm>
          <a:prstGeom prst="rect">
            <a:avLst/>
          </a:prstGeom>
        </p:spPr>
      </p:pic>
      <p:pic>
        <p:nvPicPr>
          <p:cNvPr id="24" name="Picture 23">
            <a:extLst>
              <a:ext uri="{FF2B5EF4-FFF2-40B4-BE49-F238E27FC236}">
                <a16:creationId xmlns:a16="http://schemas.microsoft.com/office/drawing/2014/main" id="{EA6E935D-DADF-55CD-9D7D-0305C70B1182}"/>
              </a:ext>
            </a:extLst>
          </p:cNvPr>
          <p:cNvPicPr>
            <a:picLocks noChangeAspect="1"/>
          </p:cNvPicPr>
          <p:nvPr/>
        </p:nvPicPr>
        <p:blipFill>
          <a:blip r:embed="rId5"/>
          <a:stretch>
            <a:fillRect/>
          </a:stretch>
        </p:blipFill>
        <p:spPr>
          <a:xfrm>
            <a:off x="-1" y="2219837"/>
            <a:ext cx="10691813" cy="3957443"/>
          </a:xfrm>
          <a:prstGeom prst="rect">
            <a:avLst/>
          </a:prstGeom>
        </p:spPr>
      </p:pic>
      <p:sp>
        <p:nvSpPr>
          <p:cNvPr id="27" name="Title 1">
            <a:extLst>
              <a:ext uri="{FF2B5EF4-FFF2-40B4-BE49-F238E27FC236}">
                <a16:creationId xmlns:a16="http://schemas.microsoft.com/office/drawing/2014/main" id="{882AC86F-8D37-9F02-1AE9-0A308E97A644}"/>
              </a:ext>
            </a:extLst>
          </p:cNvPr>
          <p:cNvSpPr txBox="1">
            <a:spLocks/>
          </p:cNvSpPr>
          <p:nvPr/>
        </p:nvSpPr>
        <p:spPr>
          <a:xfrm>
            <a:off x="1435413" y="2750974"/>
            <a:ext cx="8286750" cy="1851976"/>
          </a:xfrm>
          <a:prstGeom prst="rect">
            <a:avLst/>
          </a:prstGeom>
        </p:spPr>
        <p:txBody>
          <a:bodyPr vert="horz" lIns="0" tIns="0" rIns="0" bIns="0" rtlCol="0" anchor="t" anchorCtr="0">
            <a:noAutofit/>
          </a:bodyPr>
          <a:lstStyle>
            <a:lvl1pPr algn="l" defTabSz="1043056" rtl="0" eaLnBrk="1" latinLnBrk="0" hangingPunct="1">
              <a:lnSpc>
                <a:spcPts val="3200"/>
              </a:lnSpc>
              <a:spcBef>
                <a:spcPct val="0"/>
              </a:spcBef>
              <a:buNone/>
              <a:defRPr sz="2800" b="1" kern="1200">
                <a:solidFill>
                  <a:schemeClr val="tx1"/>
                </a:solidFill>
                <a:latin typeface="SKODA Next" panose="020B0504020603020204" pitchFamily="34" charset="0"/>
                <a:ea typeface="Verdana" pitchFamily="34" charset="0"/>
                <a:cs typeface="Verdana" pitchFamily="34" charset="0"/>
              </a:defRPr>
            </a:lvl1pPr>
          </a:lstStyle>
          <a:p>
            <a:pPr algn="ctr">
              <a:lnSpc>
                <a:spcPct val="100000"/>
              </a:lnSpc>
            </a:pPr>
            <a:r>
              <a:rPr lang="en-US" altLang="en-US" sz="4000" dirty="0">
                <a:solidFill>
                  <a:schemeClr val="bg1"/>
                </a:solidFill>
                <a:latin typeface="Times New Roman" panose="02020603050405020304" pitchFamily="18" charset="0"/>
                <a:cs typeface="Times New Roman" panose="02020603050405020304" pitchFamily="18" charset="0"/>
              </a:rPr>
              <a:t>Revenue Diversification in Africa through bio-based and circular Agricultural Innovations</a:t>
            </a:r>
            <a:endParaRPr lang="cs-CZ" altLang="en-US" sz="4000" dirty="0">
              <a:latin typeface="Times New Roman" panose="02020603050405020304" pitchFamily="18" charset="0"/>
              <a:cs typeface="Times New Roman" panose="02020603050405020304" pitchFamily="18" charset="0"/>
            </a:endParaRPr>
          </a:p>
        </p:txBody>
      </p:sp>
      <p:pic>
        <p:nvPicPr>
          <p:cNvPr id="29" name="Picture 28">
            <a:extLst>
              <a:ext uri="{FF2B5EF4-FFF2-40B4-BE49-F238E27FC236}">
                <a16:creationId xmlns:a16="http://schemas.microsoft.com/office/drawing/2014/main" id="{9DDA520B-ED84-4BB6-069F-4C136FD96A1F}"/>
              </a:ext>
            </a:extLst>
          </p:cNvPr>
          <p:cNvPicPr>
            <a:picLocks noChangeAspect="1"/>
          </p:cNvPicPr>
          <p:nvPr/>
        </p:nvPicPr>
        <p:blipFill>
          <a:blip r:embed="rId6"/>
          <a:stretch>
            <a:fillRect/>
          </a:stretch>
        </p:blipFill>
        <p:spPr>
          <a:xfrm>
            <a:off x="8410085" y="4511228"/>
            <a:ext cx="1455546" cy="838273"/>
          </a:xfrm>
          <a:prstGeom prst="rect">
            <a:avLst/>
          </a:prstGeom>
        </p:spPr>
      </p:pic>
      <p:pic>
        <p:nvPicPr>
          <p:cNvPr id="14" name="Picture 13">
            <a:extLst>
              <a:ext uri="{FF2B5EF4-FFF2-40B4-BE49-F238E27FC236}">
                <a16:creationId xmlns:a16="http://schemas.microsoft.com/office/drawing/2014/main" id="{4DAD4575-DDF5-4C61-92B1-BE447941F85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8287967" y="76573"/>
            <a:ext cx="2249528" cy="2249528"/>
          </a:xfrm>
          <a:custGeom>
            <a:avLst/>
            <a:gdLst/>
            <a:ahLst/>
            <a:cxnLst/>
            <a:rect l="l" t="t" r="r" b="b"/>
            <a:pathLst>
              <a:path w="3741748" h="3741748">
                <a:moveTo>
                  <a:pt x="1870874" y="0"/>
                </a:moveTo>
                <a:cubicBezTo>
                  <a:pt x="2904129" y="0"/>
                  <a:pt x="3741748" y="837619"/>
                  <a:pt x="3741748" y="1870874"/>
                </a:cubicBezTo>
                <a:cubicBezTo>
                  <a:pt x="3741748" y="2904129"/>
                  <a:pt x="2904129" y="3741748"/>
                  <a:pt x="1870874" y="3741748"/>
                </a:cubicBezTo>
                <a:cubicBezTo>
                  <a:pt x="837619" y="3741748"/>
                  <a:pt x="0" y="2904129"/>
                  <a:pt x="0" y="1870874"/>
                </a:cubicBezTo>
                <a:cubicBezTo>
                  <a:pt x="0" y="837619"/>
                  <a:pt x="837619" y="0"/>
                  <a:pt x="1870874" y="0"/>
                </a:cubicBezTo>
                <a:close/>
              </a:path>
            </a:pathLst>
          </a:custGeom>
        </p:spPr>
      </p:pic>
      <p:pic>
        <p:nvPicPr>
          <p:cNvPr id="16" name="Picture 3" descr="image007_fe3a5309-7b74-45b5-bb0e-c420a3b6a372">
            <a:extLst>
              <a:ext uri="{FF2B5EF4-FFF2-40B4-BE49-F238E27FC236}">
                <a16:creationId xmlns:a16="http://schemas.microsoft.com/office/drawing/2014/main" id="{0DF8460A-6B87-4534-8BA9-AB2712EA8FD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19066" y="6141142"/>
            <a:ext cx="7124967" cy="9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6">
            <a:extLst>
              <a:ext uri="{FF2B5EF4-FFF2-40B4-BE49-F238E27FC236}">
                <a16:creationId xmlns:a16="http://schemas.microsoft.com/office/drawing/2014/main" id="{F86F000D-D966-4DC5-B099-741FEA591D79}"/>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19" name="Picture 18">
            <a:extLst>
              <a:ext uri="{FF2B5EF4-FFF2-40B4-BE49-F238E27FC236}">
                <a16:creationId xmlns:a16="http://schemas.microsoft.com/office/drawing/2014/main" id="{E80ED348-311A-4F54-A58D-BA63B2709578}"/>
              </a:ext>
            </a:extLst>
          </p:cNvPr>
          <p:cNvPicPr>
            <a:picLocks noChangeAspect="1"/>
          </p:cNvPicPr>
          <p:nvPr/>
        </p:nvPicPr>
        <p:blipFill>
          <a:blip r:embed="rId3"/>
          <a:stretch>
            <a:fillRect/>
          </a:stretch>
        </p:blipFill>
        <p:spPr>
          <a:xfrm>
            <a:off x="8575407" y="7077764"/>
            <a:ext cx="465011" cy="474311"/>
          </a:xfrm>
          <a:prstGeom prst="rect">
            <a:avLst/>
          </a:prstGeom>
        </p:spPr>
      </p:pic>
    </p:spTree>
    <p:extLst>
      <p:ext uri="{BB962C8B-B14F-4D97-AF65-F5344CB8AC3E}">
        <p14:creationId xmlns:p14="http://schemas.microsoft.com/office/powerpoint/2010/main" val="14674224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3F8D8-2234-4A73-888D-B3F3201F3E3A}"/>
              </a:ext>
            </a:extLst>
          </p:cNvPr>
          <p:cNvSpPr>
            <a:spLocks noGrp="1"/>
          </p:cNvSpPr>
          <p:nvPr>
            <p:ph type="title"/>
          </p:nvPr>
        </p:nvSpPr>
        <p:spPr>
          <a:xfrm>
            <a:off x="735062" y="1061821"/>
            <a:ext cx="9221688" cy="684107"/>
          </a:xfrm>
        </p:spPr>
        <p:txBody>
          <a:bodyPr/>
          <a:lstStyle/>
          <a:p>
            <a:r>
              <a:rPr lang="en-US" b="1" u="sng" dirty="0"/>
              <a:t>MFCW at NUST</a:t>
            </a:r>
            <a:endParaRPr lang="en-GB" b="1" u="sng" dirty="0"/>
          </a:p>
        </p:txBody>
      </p:sp>
      <p:pic>
        <p:nvPicPr>
          <p:cNvPr id="4" name="Content Placeholder 3">
            <a:extLst>
              <a:ext uri="{FF2B5EF4-FFF2-40B4-BE49-F238E27FC236}">
                <a16:creationId xmlns:a16="http://schemas.microsoft.com/office/drawing/2014/main" id="{E19D6FB6-0D0B-4578-ACF9-389A17EF5F68}"/>
              </a:ext>
            </a:extLst>
          </p:cNvPr>
          <p:cNvPicPr>
            <a:picLocks noGrp="1"/>
          </p:cNvPicPr>
          <p:nvPr>
            <p:ph idx="1"/>
          </p:nvPr>
        </p:nvPicPr>
        <p:blipFill>
          <a:blip r:embed="rId2" cstate="print">
            <a:extLst>
              <a:ext uri="{28A0092B-C50C-407E-A947-70E740481C1C}">
                <a14:useLocalDpi xmlns:a14="http://schemas.microsoft.com/office/drawing/2010/main" val="0"/>
              </a:ext>
            </a:extLst>
          </a:blip>
          <a:stretch>
            <a:fillRect/>
          </a:stretch>
        </p:blipFill>
        <p:spPr>
          <a:xfrm>
            <a:off x="6930888" y="2560184"/>
            <a:ext cx="2810012" cy="3326057"/>
          </a:xfrm>
          <a:prstGeom prst="rect">
            <a:avLst/>
          </a:prstGeom>
        </p:spPr>
      </p:pic>
      <p:sp>
        <p:nvSpPr>
          <p:cNvPr id="7" name="Rectangle 6">
            <a:extLst>
              <a:ext uri="{FF2B5EF4-FFF2-40B4-BE49-F238E27FC236}">
                <a16:creationId xmlns:a16="http://schemas.microsoft.com/office/drawing/2014/main" id="{63C240F8-8E77-48D3-BC51-35F56C1317C6}"/>
              </a:ext>
            </a:extLst>
          </p:cNvPr>
          <p:cNvSpPr/>
          <p:nvPr/>
        </p:nvSpPr>
        <p:spPr>
          <a:xfrm>
            <a:off x="735061" y="1673434"/>
            <a:ext cx="9564890" cy="659283"/>
          </a:xfrm>
          <a:prstGeom prst="rect">
            <a:avLst/>
          </a:prstGeom>
        </p:spPr>
        <p:txBody>
          <a:bodyPr wrap="square">
            <a:spAutoFit/>
          </a:bodyPr>
          <a:lstStyle/>
          <a:p>
            <a:pPr marL="250603" indent="-250603">
              <a:buFont typeface="Arial" panose="020B0604020202020204" pitchFamily="34" charset="0"/>
              <a:buChar char="•"/>
            </a:pPr>
            <a:r>
              <a:rPr lang="en-US" sz="1842" dirty="0"/>
              <a:t>1st Pre-Treatment: Chamber to settle solids and swimming up of fats to surface</a:t>
            </a:r>
            <a:endParaRPr lang="en-GB" sz="1842" dirty="0"/>
          </a:p>
          <a:p>
            <a:pPr marL="250603" indent="-250603">
              <a:buFont typeface="Arial" panose="020B0604020202020204" pitchFamily="34" charset="0"/>
              <a:buChar char="•"/>
            </a:pPr>
            <a:r>
              <a:rPr lang="en-US" sz="1842" dirty="0"/>
              <a:t>2nd Pre-Treatment: Chamber for further settling and swimming as well as pumping to </a:t>
            </a:r>
            <a:r>
              <a:rPr lang="en-US" sz="1842" dirty="0" err="1"/>
              <a:t>MfCWs</a:t>
            </a:r>
            <a:endParaRPr lang="en-GB" sz="1842" dirty="0"/>
          </a:p>
        </p:txBody>
      </p:sp>
      <p:pic>
        <p:nvPicPr>
          <p:cNvPr id="9" name="Google Shape;279;p30">
            <a:extLst>
              <a:ext uri="{FF2B5EF4-FFF2-40B4-BE49-F238E27FC236}">
                <a16:creationId xmlns:a16="http://schemas.microsoft.com/office/drawing/2014/main" id="{29E8A6A9-05CF-46B1-BA1C-36C397D68CBF}"/>
              </a:ext>
            </a:extLst>
          </p:cNvPr>
          <p:cNvPicPr/>
          <p:nvPr/>
        </p:nvPicPr>
        <p:blipFill>
          <a:blip r:embed="rId3" cstate="email">
            <a:alphaModFix/>
            <a:extLst>
              <a:ext uri="{28A0092B-C50C-407E-A947-70E740481C1C}">
                <a14:useLocalDpi xmlns:a14="http://schemas.microsoft.com/office/drawing/2010/main"/>
              </a:ext>
            </a:extLst>
          </a:blip>
          <a:stretch/>
        </p:blipFill>
        <p:spPr bwMode="auto">
          <a:xfrm>
            <a:off x="131324" y="6032160"/>
            <a:ext cx="628863" cy="628863"/>
          </a:xfrm>
          <a:prstGeom prst="rect">
            <a:avLst/>
          </a:prstGeom>
          <a:noFill/>
          <a:ln>
            <a:noFill/>
          </a:ln>
        </p:spPr>
      </p:pic>
      <p:pic>
        <p:nvPicPr>
          <p:cNvPr id="10" name="Picture 9" descr="Text&#10;&#10;Description automatically generated">
            <a:extLst>
              <a:ext uri="{FF2B5EF4-FFF2-40B4-BE49-F238E27FC236}">
                <a16:creationId xmlns:a16="http://schemas.microsoft.com/office/drawing/2014/main" id="{049FD951-DD17-4D9E-BC80-9EFC2CC7267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054581" y="6442604"/>
            <a:ext cx="1598425" cy="213260"/>
          </a:xfrm>
          <a:prstGeom prst="rect">
            <a:avLst/>
          </a:prstGeom>
        </p:spPr>
      </p:pic>
      <p:sp>
        <p:nvSpPr>
          <p:cNvPr id="11" name="Google Shape;313;p30">
            <a:extLst>
              <a:ext uri="{FF2B5EF4-FFF2-40B4-BE49-F238E27FC236}">
                <a16:creationId xmlns:a16="http://schemas.microsoft.com/office/drawing/2014/main" id="{1599CC22-31BA-4AE0-9AAE-8F4971CA91DF}"/>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
        <p:nvSpPr>
          <p:cNvPr id="12" name="Rectangle 11">
            <a:extLst>
              <a:ext uri="{FF2B5EF4-FFF2-40B4-BE49-F238E27FC236}">
                <a16:creationId xmlns:a16="http://schemas.microsoft.com/office/drawing/2014/main" id="{66533E03-100D-4A42-BED7-4D7B906E417E}"/>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04688788-6966-4094-A803-36BEE561E61B}"/>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14" name="Picture 13">
            <a:extLst>
              <a:ext uri="{FF2B5EF4-FFF2-40B4-BE49-F238E27FC236}">
                <a16:creationId xmlns:a16="http://schemas.microsoft.com/office/drawing/2014/main" id="{7BFA7497-3085-46A5-BD4C-24AA05B7E60F}"/>
              </a:ext>
            </a:extLst>
          </p:cNvPr>
          <p:cNvPicPr>
            <a:picLocks noChangeAspect="1"/>
          </p:cNvPicPr>
          <p:nvPr/>
        </p:nvPicPr>
        <p:blipFill>
          <a:blip r:embed="rId5"/>
          <a:stretch>
            <a:fillRect/>
          </a:stretch>
        </p:blipFill>
        <p:spPr>
          <a:xfrm>
            <a:off x="8575407" y="7077764"/>
            <a:ext cx="465011" cy="474311"/>
          </a:xfrm>
          <a:prstGeom prst="rect">
            <a:avLst/>
          </a:prstGeom>
        </p:spPr>
      </p:pic>
      <p:sp>
        <p:nvSpPr>
          <p:cNvPr id="3" name="Slide Number Placeholder 2">
            <a:extLst>
              <a:ext uri="{FF2B5EF4-FFF2-40B4-BE49-F238E27FC236}">
                <a16:creationId xmlns:a16="http://schemas.microsoft.com/office/drawing/2014/main" id="{B1BE77FA-8EC3-4091-A316-13F9DFE06692}"/>
              </a:ext>
            </a:extLst>
          </p:cNvPr>
          <p:cNvSpPr>
            <a:spLocks noGrp="1"/>
          </p:cNvSpPr>
          <p:nvPr>
            <p:ph type="sldNum" sz="quarter" idx="12"/>
          </p:nvPr>
        </p:nvSpPr>
        <p:spPr/>
        <p:txBody>
          <a:bodyPr/>
          <a:lstStyle/>
          <a:p>
            <a:fld id="{A662B3CB-E30B-451B-8500-BFF45B7F134A}" type="slidenum">
              <a:rPr lang="en-GB" smtClean="0"/>
              <a:t>10</a:t>
            </a:fld>
            <a:endParaRPr lang="en-GB"/>
          </a:p>
        </p:txBody>
      </p:sp>
      <p:sp>
        <p:nvSpPr>
          <p:cNvPr id="15" name="Rectangle 14">
            <a:extLst>
              <a:ext uri="{FF2B5EF4-FFF2-40B4-BE49-F238E27FC236}">
                <a16:creationId xmlns:a16="http://schemas.microsoft.com/office/drawing/2014/main" id="{540E5B87-F704-4E5E-BC40-52DAD0E2B550}"/>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1E6371BB-C189-5588-CE11-AD4D19B19D90}"/>
              </a:ext>
            </a:extLst>
          </p:cNvPr>
          <p:cNvPicPr>
            <a:picLocks noChangeAspect="1"/>
          </p:cNvPicPr>
          <p:nvPr/>
        </p:nvPicPr>
        <p:blipFill>
          <a:blip r:embed="rId6"/>
          <a:stretch>
            <a:fillRect/>
          </a:stretch>
        </p:blipFill>
        <p:spPr>
          <a:xfrm>
            <a:off x="760187" y="2560184"/>
            <a:ext cx="5094513" cy="3396343"/>
          </a:xfrm>
          <a:prstGeom prst="rect">
            <a:avLst/>
          </a:prstGeom>
        </p:spPr>
      </p:pic>
    </p:spTree>
    <p:extLst>
      <p:ext uri="{BB962C8B-B14F-4D97-AF65-F5344CB8AC3E}">
        <p14:creationId xmlns:p14="http://schemas.microsoft.com/office/powerpoint/2010/main" val="39360933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4D81197-EEA2-49B0-A235-743E6ACA7AE9}"/>
              </a:ext>
            </a:extLst>
          </p:cNvPr>
          <p:cNvSpPr>
            <a:spLocks noGrp="1"/>
          </p:cNvSpPr>
          <p:nvPr>
            <p:ph idx="1"/>
          </p:nvPr>
        </p:nvSpPr>
        <p:spPr>
          <a:xfrm>
            <a:off x="735062" y="2209800"/>
            <a:ext cx="9582614" cy="3949699"/>
          </a:xfrm>
        </p:spPr>
        <p:txBody>
          <a:bodyPr>
            <a:noAutofit/>
          </a:bodyPr>
          <a:lstStyle/>
          <a:p>
            <a:pPr algn="just"/>
            <a:r>
              <a:rPr lang="en-US" dirty="0"/>
              <a:t>DIVAGRI is exploring new combinations of trees and food crops learning from traditional successful intercropping (mixed crops) practices. </a:t>
            </a:r>
          </a:p>
          <a:p>
            <a:pPr algn="just"/>
            <a:endParaRPr lang="en-US" dirty="0"/>
          </a:p>
          <a:p>
            <a:pPr algn="just"/>
            <a:r>
              <a:rPr lang="en-US" dirty="0"/>
              <a:t>Intercropping enables optimal utilization of resources (water, nutrients) while reducing soil erosion; and enhances crop yields.</a:t>
            </a:r>
          </a:p>
          <a:p>
            <a:pPr algn="just"/>
            <a:r>
              <a:rPr lang="en-US" dirty="0"/>
              <a:t> </a:t>
            </a:r>
          </a:p>
          <a:p>
            <a:pPr marL="180000" marR="0" lvl="0" indent="-180000" algn="l" defTabSz="1043056" rtl="0" eaLnBrk="1" fontAlgn="auto" latinLnBrk="0" hangingPunct="1">
              <a:lnSpc>
                <a:spcPct val="115000"/>
              </a:lnSpc>
              <a:spcBef>
                <a:spcPts val="0"/>
              </a:spcBef>
              <a:spcAft>
                <a:spcPts val="0"/>
              </a:spcAft>
              <a:buClr>
                <a:prstClr val="white">
                  <a:lumMod val="85000"/>
                </a:prstClr>
              </a:buClr>
              <a:buSzPct val="100000"/>
              <a:buFont typeface="Wingdings" panose="05000000000000000000" pitchFamily="2" charset="2"/>
              <a:buChar char="§"/>
              <a:tabLst/>
              <a:defRPr/>
            </a:pPr>
            <a:r>
              <a:rPr kumimoji="0" lang="en-US" b="0" i="0" u="none" strike="noStrike" kern="1200" cap="none" spc="0" normalizeH="0" baseline="0" noProof="0" dirty="0">
                <a:ln>
                  <a:noFill/>
                </a:ln>
                <a:solidFill>
                  <a:prstClr val="black"/>
                </a:solidFill>
                <a:effectLst/>
                <a:uLnTx/>
                <a:uFillTx/>
                <a:latin typeface="SKODA Next" panose="020B0504020603020204" pitchFamily="34" charset="0"/>
                <a:ea typeface="Verdana" pitchFamily="34" charset="0"/>
              </a:rPr>
              <a:t>The objective is to explore which of the crops with waste valorization potential can be enhanced or facilitated by growing them in combination with other crops that can be sold (e.g. higher value food such as strawberries that combine well in between rows of crops with low water requirements). </a:t>
            </a:r>
          </a:p>
          <a:p>
            <a:pPr marL="180000" marR="0" lvl="0" indent="-180000" algn="l" defTabSz="1043056" rtl="0" eaLnBrk="1" fontAlgn="auto" latinLnBrk="0" hangingPunct="1">
              <a:lnSpc>
                <a:spcPct val="115000"/>
              </a:lnSpc>
              <a:spcBef>
                <a:spcPts val="0"/>
              </a:spcBef>
              <a:spcAft>
                <a:spcPts val="0"/>
              </a:spcAft>
              <a:buClr>
                <a:prstClr val="white">
                  <a:lumMod val="85000"/>
                </a:prstClr>
              </a:buClr>
              <a:buSzPct val="100000"/>
              <a:buFont typeface="Wingdings" panose="05000000000000000000" pitchFamily="2" charset="2"/>
              <a:buChar char="§"/>
              <a:tabLst/>
              <a:defRPr/>
            </a:pPr>
            <a:endParaRPr kumimoji="0" lang="en-US" b="0" i="0" u="none" strike="noStrike" kern="1200" cap="none" spc="0" normalizeH="0" baseline="0" noProof="0" dirty="0">
              <a:ln>
                <a:noFill/>
              </a:ln>
              <a:solidFill>
                <a:prstClr val="black"/>
              </a:solidFill>
              <a:effectLst/>
              <a:uLnTx/>
              <a:uFillTx/>
              <a:latin typeface="SKODA Next" panose="020B0504020603020204" pitchFamily="34" charset="0"/>
              <a:ea typeface="Verdana" pitchFamily="34" charset="0"/>
            </a:endParaRPr>
          </a:p>
          <a:p>
            <a:pPr marL="180000" marR="0" lvl="0" indent="-180000" algn="just" defTabSz="1043056" rtl="0" eaLnBrk="1" fontAlgn="auto" latinLnBrk="0" hangingPunct="1">
              <a:lnSpc>
                <a:spcPct val="115000"/>
              </a:lnSpc>
              <a:spcBef>
                <a:spcPts val="0"/>
              </a:spcBef>
              <a:spcAft>
                <a:spcPts val="0"/>
              </a:spcAft>
              <a:buClr>
                <a:prstClr val="white">
                  <a:lumMod val="85000"/>
                </a:prstClr>
              </a:buClr>
              <a:buSzPct val="100000"/>
              <a:buFont typeface="Wingdings" panose="05000000000000000000" pitchFamily="2" charset="2"/>
              <a:buChar char="§"/>
              <a:tabLst/>
              <a:defRPr/>
            </a:pPr>
            <a:r>
              <a:rPr kumimoji="0" lang="en-US" b="0" i="0" u="none" strike="noStrike" kern="1200" cap="none" spc="0" normalizeH="0" baseline="0" noProof="0" dirty="0">
                <a:ln>
                  <a:noFill/>
                </a:ln>
                <a:solidFill>
                  <a:prstClr val="black"/>
                </a:solidFill>
                <a:effectLst/>
                <a:uLnTx/>
                <a:uFillTx/>
                <a:latin typeface="SKODA Next" panose="020B0504020603020204" pitchFamily="34" charset="0"/>
                <a:ea typeface="Verdana" pitchFamily="34" charset="0"/>
              </a:rPr>
              <a:t>Existing successful agroforestry and intercropping systems (e.g. fruit forests, wheat with other summer crops, grains-legumes intercropping) are integrated with bioengineering techniques, reclaimed water, biochar and digestate use.</a:t>
            </a:r>
            <a:endParaRPr kumimoji="0" lang="en-GB" b="0" i="0" u="none" strike="noStrike" kern="1200" cap="none" spc="0" normalizeH="0" baseline="0" noProof="0" dirty="0">
              <a:ln>
                <a:noFill/>
              </a:ln>
              <a:solidFill>
                <a:prstClr val="black"/>
              </a:solidFill>
              <a:effectLst/>
              <a:uLnTx/>
              <a:uFillTx/>
              <a:latin typeface="SKODA Next" panose="020B0504020603020204" pitchFamily="34" charset="0"/>
              <a:ea typeface="Verdana" pitchFamily="34" charset="0"/>
            </a:endParaRPr>
          </a:p>
          <a:p>
            <a:pPr algn="just"/>
            <a:endParaRPr lang="en-US" dirty="0"/>
          </a:p>
          <a:p>
            <a:endParaRPr lang="en-US" dirty="0"/>
          </a:p>
        </p:txBody>
      </p:sp>
      <p:sp>
        <p:nvSpPr>
          <p:cNvPr id="4" name="TextBox 3">
            <a:extLst>
              <a:ext uri="{FF2B5EF4-FFF2-40B4-BE49-F238E27FC236}">
                <a16:creationId xmlns:a16="http://schemas.microsoft.com/office/drawing/2014/main" id="{3C7BBB1D-1276-4576-B23F-DEAFBD7AF5CD}"/>
              </a:ext>
            </a:extLst>
          </p:cNvPr>
          <p:cNvSpPr txBox="1"/>
          <p:nvPr/>
        </p:nvSpPr>
        <p:spPr>
          <a:xfrm>
            <a:off x="735062" y="1037465"/>
            <a:ext cx="9097772" cy="954107"/>
          </a:xfrm>
          <a:prstGeom prst="rect">
            <a:avLst/>
          </a:prstGeom>
          <a:noFill/>
        </p:spPr>
        <p:txBody>
          <a:bodyPr wrap="square" rtlCol="0">
            <a:spAutoFit/>
          </a:bodyPr>
          <a:lstStyle/>
          <a:p>
            <a:r>
              <a:rPr lang="en-US" sz="2800" b="1" dirty="0">
                <a:latin typeface="Times New Roman" panose="02020603050405020304" pitchFamily="18" charset="0"/>
                <a:cs typeface="Times New Roman" panose="02020603050405020304" pitchFamily="18" charset="0"/>
              </a:rPr>
              <a:t>Ethnobotanical intercropping and regenerative farming technique</a:t>
            </a:r>
            <a:endParaRPr lang="en-GB" sz="2800" b="1" dirty="0">
              <a:latin typeface="Times New Roman" panose="02020603050405020304" pitchFamily="18" charset="0"/>
              <a:cs typeface="Times New Roman" panose="02020603050405020304" pitchFamily="18" charset="0"/>
            </a:endParaRPr>
          </a:p>
        </p:txBody>
      </p:sp>
      <p:pic>
        <p:nvPicPr>
          <p:cNvPr id="5" name="Google Shape;279;p30">
            <a:extLst>
              <a:ext uri="{FF2B5EF4-FFF2-40B4-BE49-F238E27FC236}">
                <a16:creationId xmlns:a16="http://schemas.microsoft.com/office/drawing/2014/main" id="{FBDD3DF4-DF2B-47F3-8FB2-3D435D38DE83}"/>
              </a:ext>
            </a:extLst>
          </p:cNvPr>
          <p:cNvPicPr/>
          <p:nvPr/>
        </p:nvPicPr>
        <p:blipFill>
          <a:blip r:embed="rId2" cstate="email">
            <a:alphaModFix/>
            <a:extLst>
              <a:ext uri="{28A0092B-C50C-407E-A947-70E740481C1C}">
                <a14:useLocalDpi xmlns:a14="http://schemas.microsoft.com/office/drawing/2010/main"/>
              </a:ext>
            </a:extLst>
          </a:blip>
          <a:stretch/>
        </p:blipFill>
        <p:spPr bwMode="auto">
          <a:xfrm>
            <a:off x="131324" y="6032160"/>
            <a:ext cx="628863" cy="628863"/>
          </a:xfrm>
          <a:prstGeom prst="rect">
            <a:avLst/>
          </a:prstGeom>
          <a:noFill/>
          <a:ln>
            <a:noFill/>
          </a:ln>
        </p:spPr>
      </p:pic>
      <p:pic>
        <p:nvPicPr>
          <p:cNvPr id="6" name="Picture 5" descr="Text&#10;&#10;Description automatically generated">
            <a:extLst>
              <a:ext uri="{FF2B5EF4-FFF2-40B4-BE49-F238E27FC236}">
                <a16:creationId xmlns:a16="http://schemas.microsoft.com/office/drawing/2014/main" id="{EFD77C76-48EE-4A72-B38C-AA3A2CA4309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054581" y="6442604"/>
            <a:ext cx="1598425" cy="213260"/>
          </a:xfrm>
          <a:prstGeom prst="rect">
            <a:avLst/>
          </a:prstGeom>
        </p:spPr>
      </p:pic>
      <p:sp>
        <p:nvSpPr>
          <p:cNvPr id="7" name="Google Shape;313;p30">
            <a:extLst>
              <a:ext uri="{FF2B5EF4-FFF2-40B4-BE49-F238E27FC236}">
                <a16:creationId xmlns:a16="http://schemas.microsoft.com/office/drawing/2014/main" id="{87DD95AE-4E3B-496F-99C8-5D1DA452712A}"/>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
        <p:nvSpPr>
          <p:cNvPr id="8" name="Rectangle 7">
            <a:extLst>
              <a:ext uri="{FF2B5EF4-FFF2-40B4-BE49-F238E27FC236}">
                <a16:creationId xmlns:a16="http://schemas.microsoft.com/office/drawing/2014/main" id="{2328576C-1732-4337-A803-FABC2484DE37}"/>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8EB57276-6A56-4A3A-96E0-DD4CA08D5D1B}"/>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10" name="Picture 9">
            <a:extLst>
              <a:ext uri="{FF2B5EF4-FFF2-40B4-BE49-F238E27FC236}">
                <a16:creationId xmlns:a16="http://schemas.microsoft.com/office/drawing/2014/main" id="{ECE166EC-94A0-4883-956C-D896C8EDCEA2}"/>
              </a:ext>
            </a:extLst>
          </p:cNvPr>
          <p:cNvPicPr>
            <a:picLocks noChangeAspect="1"/>
          </p:cNvPicPr>
          <p:nvPr/>
        </p:nvPicPr>
        <p:blipFill>
          <a:blip r:embed="rId4"/>
          <a:stretch>
            <a:fillRect/>
          </a:stretch>
        </p:blipFill>
        <p:spPr>
          <a:xfrm>
            <a:off x="8575407" y="7077764"/>
            <a:ext cx="465011" cy="474311"/>
          </a:xfrm>
          <a:prstGeom prst="rect">
            <a:avLst/>
          </a:prstGeom>
        </p:spPr>
      </p:pic>
      <p:sp>
        <p:nvSpPr>
          <p:cNvPr id="2" name="Slide Number Placeholder 1">
            <a:extLst>
              <a:ext uri="{FF2B5EF4-FFF2-40B4-BE49-F238E27FC236}">
                <a16:creationId xmlns:a16="http://schemas.microsoft.com/office/drawing/2014/main" id="{1F4BC929-5CCC-45D0-ACF8-E444855C2D63}"/>
              </a:ext>
            </a:extLst>
          </p:cNvPr>
          <p:cNvSpPr>
            <a:spLocks noGrp="1"/>
          </p:cNvSpPr>
          <p:nvPr>
            <p:ph type="sldNum" sz="quarter" idx="12"/>
          </p:nvPr>
        </p:nvSpPr>
        <p:spPr/>
        <p:txBody>
          <a:bodyPr/>
          <a:lstStyle/>
          <a:p>
            <a:fld id="{A662B3CB-E30B-451B-8500-BFF45B7F134A}" type="slidenum">
              <a:rPr lang="en-GB" smtClean="0"/>
              <a:t>11</a:t>
            </a:fld>
            <a:endParaRPr lang="en-GB"/>
          </a:p>
        </p:txBody>
      </p:sp>
      <p:sp>
        <p:nvSpPr>
          <p:cNvPr id="11" name="Rectangle 10">
            <a:extLst>
              <a:ext uri="{FF2B5EF4-FFF2-40B4-BE49-F238E27FC236}">
                <a16:creationId xmlns:a16="http://schemas.microsoft.com/office/drawing/2014/main" id="{F01EF31B-8EA2-46AA-8263-ECF392A22BE8}"/>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676135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8D2928-39B5-40BC-9A31-A4B9D08FC34A}"/>
              </a:ext>
            </a:extLst>
          </p:cNvPr>
          <p:cNvSpPr>
            <a:spLocks noGrp="1"/>
          </p:cNvSpPr>
          <p:nvPr>
            <p:ph type="title"/>
          </p:nvPr>
        </p:nvSpPr>
        <p:spPr>
          <a:xfrm>
            <a:off x="445755" y="256818"/>
            <a:ext cx="9221688" cy="933236"/>
          </a:xfrm>
        </p:spPr>
        <p:txBody>
          <a:bodyPr/>
          <a:lstStyle/>
          <a:p>
            <a:r>
              <a:rPr lang="en-US" b="1" dirty="0">
                <a:latin typeface="Times New Roman" panose="02020603050405020304" pitchFamily="18" charset="0"/>
                <a:cs typeface="Times New Roman" panose="02020603050405020304" pitchFamily="18" charset="0"/>
              </a:rPr>
              <a:t>Ethnobotanical and intercropping at NUST</a:t>
            </a:r>
            <a:endParaRPr lang="en-GB" b="1" dirty="0">
              <a:latin typeface="Times New Roman" panose="02020603050405020304" pitchFamily="18" charset="0"/>
              <a:cs typeface="Times New Roman" panose="02020603050405020304" pitchFamily="18" charset="0"/>
            </a:endParaRPr>
          </a:p>
        </p:txBody>
      </p:sp>
      <p:pic>
        <p:nvPicPr>
          <p:cNvPr id="4" name="Content Placeholder 3">
            <a:extLst>
              <a:ext uri="{FF2B5EF4-FFF2-40B4-BE49-F238E27FC236}">
                <a16:creationId xmlns:a16="http://schemas.microsoft.com/office/drawing/2014/main" id="{1381176C-2BBC-47F7-8F81-8666B9257523}"/>
              </a:ext>
            </a:extLst>
          </p:cNvPr>
          <p:cNvPicPr>
            <a:picLocks noGrp="1"/>
          </p:cNvPicPr>
          <p:nvPr>
            <p:ph idx="1"/>
          </p:nvPr>
        </p:nvPicPr>
        <p:blipFill>
          <a:blip r:embed="rId2" cstate="print">
            <a:extLst>
              <a:ext uri="{28A0092B-C50C-407E-A947-70E740481C1C}">
                <a14:useLocalDpi xmlns:a14="http://schemas.microsoft.com/office/drawing/2010/main" val="0"/>
              </a:ext>
            </a:extLst>
          </a:blip>
          <a:stretch>
            <a:fillRect/>
          </a:stretch>
        </p:blipFill>
        <p:spPr>
          <a:xfrm>
            <a:off x="1054580" y="3274222"/>
            <a:ext cx="3479319" cy="2635504"/>
          </a:xfrm>
          <a:prstGeom prst="rect">
            <a:avLst/>
          </a:prstGeom>
        </p:spPr>
      </p:pic>
      <p:sp>
        <p:nvSpPr>
          <p:cNvPr id="5" name="TextBox 4">
            <a:extLst>
              <a:ext uri="{FF2B5EF4-FFF2-40B4-BE49-F238E27FC236}">
                <a16:creationId xmlns:a16="http://schemas.microsoft.com/office/drawing/2014/main" id="{CC4E6047-59AA-4AB7-93CD-4D2376DA03AF}"/>
              </a:ext>
            </a:extLst>
          </p:cNvPr>
          <p:cNvSpPr txBox="1"/>
          <p:nvPr/>
        </p:nvSpPr>
        <p:spPr>
          <a:xfrm>
            <a:off x="1058641" y="6032160"/>
            <a:ext cx="3188730" cy="254237"/>
          </a:xfrm>
          <a:prstGeom prst="rect">
            <a:avLst/>
          </a:prstGeom>
          <a:noFill/>
        </p:spPr>
        <p:txBody>
          <a:bodyPr wrap="square" rtlCol="0">
            <a:spAutoFit/>
          </a:bodyPr>
          <a:lstStyle/>
          <a:p>
            <a:r>
              <a:rPr lang="en-US" sz="1052" i="1" dirty="0"/>
              <a:t>Figure 4: </a:t>
            </a:r>
            <a:r>
              <a:rPr lang="en-US" sz="1052" i="1" dirty="0" err="1"/>
              <a:t>Nethouse</a:t>
            </a:r>
            <a:r>
              <a:rPr lang="en-US" sz="1052" i="1" dirty="0"/>
              <a:t> garlic at NUST Hotel school.  </a:t>
            </a:r>
            <a:endParaRPr lang="en-GB" sz="1052" i="1" dirty="0"/>
          </a:p>
        </p:txBody>
      </p:sp>
      <p:sp>
        <p:nvSpPr>
          <p:cNvPr id="6" name="TextBox 5">
            <a:extLst>
              <a:ext uri="{FF2B5EF4-FFF2-40B4-BE49-F238E27FC236}">
                <a16:creationId xmlns:a16="http://schemas.microsoft.com/office/drawing/2014/main" id="{B0CDAB5E-6857-4337-9687-2C95D95AF994}"/>
              </a:ext>
            </a:extLst>
          </p:cNvPr>
          <p:cNvSpPr txBox="1"/>
          <p:nvPr/>
        </p:nvSpPr>
        <p:spPr>
          <a:xfrm>
            <a:off x="612808" y="1197562"/>
            <a:ext cx="9704867" cy="2076659"/>
          </a:xfrm>
          <a:prstGeom prst="rect">
            <a:avLst/>
          </a:prstGeom>
          <a:noFill/>
        </p:spPr>
        <p:txBody>
          <a:bodyPr wrap="square" rtlCol="0">
            <a:spAutoFit/>
          </a:bodyPr>
          <a:lstStyle/>
          <a:p>
            <a:pPr marL="250603" indent="-250603">
              <a:buFont typeface="Arial" panose="020B0604020202020204" pitchFamily="34" charset="0"/>
              <a:buChar char="•"/>
            </a:pPr>
            <a:r>
              <a:rPr lang="en-US" sz="1842" dirty="0"/>
              <a:t>Nine hundred and seventy-five (975) garlic buds were planted, of which 875 were planted in the </a:t>
            </a:r>
            <a:r>
              <a:rPr lang="en-US" sz="1842" dirty="0" err="1"/>
              <a:t>Nethouse</a:t>
            </a:r>
            <a:r>
              <a:rPr lang="en-US" sz="1842" dirty="0"/>
              <a:t>, and 100 at the Hotel school kitchen. 15 of these garlic buds failed to shoot. </a:t>
            </a:r>
          </a:p>
          <a:p>
            <a:pPr marL="250603" indent="-250603">
              <a:buFont typeface="Arial" panose="020B0604020202020204" pitchFamily="34" charset="0"/>
              <a:buChar char="•"/>
            </a:pPr>
            <a:r>
              <a:rPr lang="en-US" sz="1842" dirty="0"/>
              <a:t>The crop seems to grow well especially in the 100 bags compared to the garlic intercropped with Moringa plots. </a:t>
            </a:r>
          </a:p>
          <a:p>
            <a:pPr marL="250603" indent="-250603">
              <a:buFont typeface="Arial" panose="020B0604020202020204" pitchFamily="34" charset="0"/>
              <a:buChar char="•"/>
            </a:pPr>
            <a:r>
              <a:rPr lang="en-US" sz="1842" dirty="0"/>
              <a:t>The garlic intercropped with </a:t>
            </a:r>
            <a:r>
              <a:rPr lang="en-US" sz="1842" dirty="0" err="1"/>
              <a:t>vygies</a:t>
            </a:r>
            <a:r>
              <a:rPr lang="en-US" sz="1842" dirty="0"/>
              <a:t> is not growing well compared to those that are growing on their own, although, all plots were mulched with the same materials such as </a:t>
            </a:r>
            <a:r>
              <a:rPr lang="en-US" sz="1842" dirty="0" err="1"/>
              <a:t>mutete</a:t>
            </a:r>
            <a:r>
              <a:rPr lang="en-US" sz="1842" dirty="0"/>
              <a:t> residues and with the same amount of water. </a:t>
            </a:r>
            <a:endParaRPr lang="en-GB" sz="1842" dirty="0"/>
          </a:p>
        </p:txBody>
      </p:sp>
      <p:pic>
        <p:nvPicPr>
          <p:cNvPr id="7" name="Picture 6">
            <a:extLst>
              <a:ext uri="{FF2B5EF4-FFF2-40B4-BE49-F238E27FC236}">
                <a16:creationId xmlns:a16="http://schemas.microsoft.com/office/drawing/2014/main" id="{17E69874-4864-4C1F-B056-17D3421CB9C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6392352" y="3274222"/>
            <a:ext cx="3240820" cy="2495608"/>
          </a:xfrm>
          <a:prstGeom prst="rect">
            <a:avLst/>
          </a:prstGeom>
        </p:spPr>
      </p:pic>
      <p:sp>
        <p:nvSpPr>
          <p:cNvPr id="8" name="Rectangle 7">
            <a:extLst>
              <a:ext uri="{FF2B5EF4-FFF2-40B4-BE49-F238E27FC236}">
                <a16:creationId xmlns:a16="http://schemas.microsoft.com/office/drawing/2014/main" id="{DF8A3700-8C55-44DB-A3C3-100867F6F2B8}"/>
              </a:ext>
            </a:extLst>
          </p:cNvPr>
          <p:cNvSpPr/>
          <p:nvPr/>
        </p:nvSpPr>
        <p:spPr>
          <a:xfrm>
            <a:off x="6300208" y="5813394"/>
            <a:ext cx="3332964" cy="375809"/>
          </a:xfrm>
          <a:prstGeom prst="rect">
            <a:avLst/>
          </a:prstGeom>
        </p:spPr>
        <p:txBody>
          <a:bodyPr wrap="none">
            <a:spAutoFit/>
          </a:bodyPr>
          <a:lstStyle/>
          <a:p>
            <a:r>
              <a:rPr lang="en-US" sz="1052" i="1" dirty="0"/>
              <a:t>Figure 5:</a:t>
            </a:r>
            <a:r>
              <a:rPr lang="en-US" sz="1842" i="1" dirty="0"/>
              <a:t> </a:t>
            </a:r>
            <a:r>
              <a:rPr lang="en-US" sz="1052" i="1" dirty="0"/>
              <a:t>Red </a:t>
            </a:r>
            <a:r>
              <a:rPr lang="en-US" sz="1052" i="1" dirty="0" err="1"/>
              <a:t>Mutete</a:t>
            </a:r>
            <a:r>
              <a:rPr lang="en-US" sz="1052" i="1" dirty="0"/>
              <a:t> in the </a:t>
            </a:r>
            <a:r>
              <a:rPr lang="en-US" sz="1052" i="1" dirty="0" err="1"/>
              <a:t>Nethouse</a:t>
            </a:r>
            <a:r>
              <a:rPr lang="en-US" sz="1052" i="1" dirty="0"/>
              <a:t> NUST Hotel school  </a:t>
            </a:r>
            <a:endParaRPr lang="en-GB" sz="1052" i="1" dirty="0"/>
          </a:p>
        </p:txBody>
      </p:sp>
      <p:pic>
        <p:nvPicPr>
          <p:cNvPr id="9" name="Google Shape;279;p30">
            <a:extLst>
              <a:ext uri="{FF2B5EF4-FFF2-40B4-BE49-F238E27FC236}">
                <a16:creationId xmlns:a16="http://schemas.microsoft.com/office/drawing/2014/main" id="{4B2EE16A-847F-44C0-BEBD-0B618112CB01}"/>
              </a:ext>
            </a:extLst>
          </p:cNvPr>
          <p:cNvPicPr/>
          <p:nvPr/>
        </p:nvPicPr>
        <p:blipFill>
          <a:blip r:embed="rId4" cstate="email">
            <a:alphaModFix/>
            <a:extLst>
              <a:ext uri="{28A0092B-C50C-407E-A947-70E740481C1C}">
                <a14:useLocalDpi xmlns:a14="http://schemas.microsoft.com/office/drawing/2010/main"/>
              </a:ext>
            </a:extLst>
          </a:blip>
          <a:stretch/>
        </p:blipFill>
        <p:spPr bwMode="auto">
          <a:xfrm>
            <a:off x="131324" y="6032160"/>
            <a:ext cx="628863" cy="628863"/>
          </a:xfrm>
          <a:prstGeom prst="rect">
            <a:avLst/>
          </a:prstGeom>
          <a:noFill/>
          <a:ln>
            <a:noFill/>
          </a:ln>
        </p:spPr>
      </p:pic>
      <p:pic>
        <p:nvPicPr>
          <p:cNvPr id="10" name="Picture 9" descr="Text&#10;&#10;Description automatically generated">
            <a:extLst>
              <a:ext uri="{FF2B5EF4-FFF2-40B4-BE49-F238E27FC236}">
                <a16:creationId xmlns:a16="http://schemas.microsoft.com/office/drawing/2014/main" id="{8521E1BC-14DD-49A4-8168-1131D5845A6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1054581" y="6442604"/>
            <a:ext cx="1598425" cy="213260"/>
          </a:xfrm>
          <a:prstGeom prst="rect">
            <a:avLst/>
          </a:prstGeom>
        </p:spPr>
      </p:pic>
      <p:sp>
        <p:nvSpPr>
          <p:cNvPr id="12" name="Google Shape;313;p30">
            <a:extLst>
              <a:ext uri="{FF2B5EF4-FFF2-40B4-BE49-F238E27FC236}">
                <a16:creationId xmlns:a16="http://schemas.microsoft.com/office/drawing/2014/main" id="{EBB57B71-A4D2-4B45-8C2C-F5EE9D31DFE6}"/>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
        <p:nvSpPr>
          <p:cNvPr id="11" name="Rectangle 10">
            <a:extLst>
              <a:ext uri="{FF2B5EF4-FFF2-40B4-BE49-F238E27FC236}">
                <a16:creationId xmlns:a16="http://schemas.microsoft.com/office/drawing/2014/main" id="{92EF0D6B-7EC9-40CB-876E-967A03E6C966}"/>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15647A75-F1A6-428D-8E98-B279AD7077FF}"/>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14" name="Picture 13">
            <a:extLst>
              <a:ext uri="{FF2B5EF4-FFF2-40B4-BE49-F238E27FC236}">
                <a16:creationId xmlns:a16="http://schemas.microsoft.com/office/drawing/2014/main" id="{8E70022C-DE6E-468E-8A70-9D1C247FE572}"/>
              </a:ext>
            </a:extLst>
          </p:cNvPr>
          <p:cNvPicPr>
            <a:picLocks noChangeAspect="1"/>
          </p:cNvPicPr>
          <p:nvPr/>
        </p:nvPicPr>
        <p:blipFill>
          <a:blip r:embed="rId6"/>
          <a:stretch>
            <a:fillRect/>
          </a:stretch>
        </p:blipFill>
        <p:spPr>
          <a:xfrm>
            <a:off x="8575407" y="7077764"/>
            <a:ext cx="465011" cy="474311"/>
          </a:xfrm>
          <a:prstGeom prst="rect">
            <a:avLst/>
          </a:prstGeom>
        </p:spPr>
      </p:pic>
      <p:sp>
        <p:nvSpPr>
          <p:cNvPr id="3" name="Slide Number Placeholder 2">
            <a:extLst>
              <a:ext uri="{FF2B5EF4-FFF2-40B4-BE49-F238E27FC236}">
                <a16:creationId xmlns:a16="http://schemas.microsoft.com/office/drawing/2014/main" id="{00B80038-0EFB-47BF-9AFD-989451D5EB05}"/>
              </a:ext>
            </a:extLst>
          </p:cNvPr>
          <p:cNvSpPr>
            <a:spLocks noGrp="1"/>
          </p:cNvSpPr>
          <p:nvPr>
            <p:ph type="sldNum" sz="quarter" idx="12"/>
          </p:nvPr>
        </p:nvSpPr>
        <p:spPr/>
        <p:txBody>
          <a:bodyPr/>
          <a:lstStyle/>
          <a:p>
            <a:fld id="{A662B3CB-E30B-451B-8500-BFF45B7F134A}" type="slidenum">
              <a:rPr lang="en-GB" smtClean="0"/>
              <a:t>12</a:t>
            </a:fld>
            <a:endParaRPr lang="en-GB"/>
          </a:p>
        </p:txBody>
      </p:sp>
      <p:sp>
        <p:nvSpPr>
          <p:cNvPr id="15" name="Rectangle 14">
            <a:extLst>
              <a:ext uri="{FF2B5EF4-FFF2-40B4-BE49-F238E27FC236}">
                <a16:creationId xmlns:a16="http://schemas.microsoft.com/office/drawing/2014/main" id="{7612041C-AF38-48F2-B6E4-E61DCA864377}"/>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35947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44A885-7EF2-4CF3-94E2-70DE5DAFADDB}"/>
              </a:ext>
            </a:extLst>
          </p:cNvPr>
          <p:cNvSpPr>
            <a:spLocks noGrp="1"/>
          </p:cNvSpPr>
          <p:nvPr>
            <p:ph type="title"/>
          </p:nvPr>
        </p:nvSpPr>
        <p:spPr>
          <a:xfrm>
            <a:off x="612809" y="466963"/>
            <a:ext cx="9221688" cy="769745"/>
          </a:xfrm>
        </p:spPr>
        <p:txBody>
          <a:bodyPr/>
          <a:lstStyle/>
          <a:p>
            <a:r>
              <a:rPr lang="en-US" b="1" dirty="0">
                <a:latin typeface="Times New Roman" panose="02020603050405020304" pitchFamily="18" charset="0"/>
                <a:cs typeface="Times New Roman" panose="02020603050405020304" pitchFamily="18" charset="0"/>
              </a:rPr>
              <a:t>Biogas digestor</a:t>
            </a:r>
            <a:endParaRPr lang="en-GB" b="1" dirty="0">
              <a:latin typeface="Times New Roman" panose="02020603050405020304" pitchFamily="18"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EE9BFAF0-3A5C-4C83-9A4F-6614E27DE2C5}"/>
              </a:ext>
            </a:extLst>
          </p:cNvPr>
          <p:cNvSpPr>
            <a:spLocks noGrp="1"/>
          </p:cNvSpPr>
          <p:nvPr>
            <p:ph idx="1"/>
          </p:nvPr>
        </p:nvSpPr>
        <p:spPr>
          <a:xfrm>
            <a:off x="612809" y="1387829"/>
            <a:ext cx="9221688" cy="4326965"/>
          </a:xfrm>
        </p:spPr>
        <p:txBody>
          <a:bodyPr>
            <a:normAutofit/>
          </a:bodyPr>
          <a:lstStyle/>
          <a:p>
            <a:pPr algn="just"/>
            <a:r>
              <a:rPr lang="en-US" dirty="0"/>
              <a:t>A low-cost single-stage solar-supported biogas digester constructed with local materials and expertise.</a:t>
            </a:r>
          </a:p>
          <a:p>
            <a:pPr marL="0" indent="0" algn="just">
              <a:buNone/>
            </a:pPr>
            <a:endParaRPr lang="en-US" dirty="0"/>
          </a:p>
          <a:p>
            <a:pPr algn="just"/>
            <a:r>
              <a:rPr lang="en-US" dirty="0"/>
              <a:t>The digester processes final residues of the biorefinery extractions together with other biodegradable wastes (livestock manure, crop residues, sewage sludge). </a:t>
            </a:r>
          </a:p>
          <a:p>
            <a:pPr marL="0" indent="0" algn="just">
              <a:buNone/>
            </a:pPr>
            <a:endParaRPr lang="en-US" dirty="0"/>
          </a:p>
          <a:p>
            <a:pPr algn="just"/>
            <a:r>
              <a:rPr lang="en-US" dirty="0"/>
              <a:t>The biogas digester has an inlet valve in which other digestible wastes can be introduced for co-digestion. </a:t>
            </a:r>
          </a:p>
          <a:p>
            <a:pPr marL="180000" marR="0" lvl="0" indent="-180000" algn="just" defTabSz="1043056" rtl="0" eaLnBrk="1" fontAlgn="auto" latinLnBrk="0" hangingPunct="1">
              <a:lnSpc>
                <a:spcPct val="115000"/>
              </a:lnSpc>
              <a:spcBef>
                <a:spcPts val="0"/>
              </a:spcBef>
              <a:spcAft>
                <a:spcPts val="0"/>
              </a:spcAft>
              <a:buClr>
                <a:prstClr val="white">
                  <a:lumMod val="85000"/>
                </a:prstClr>
              </a:buClr>
              <a:buSzPct val="100000"/>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SKODA Next" panose="020B0504020603020204" pitchFamily="34" charset="0"/>
                <a:ea typeface="Verdana" pitchFamily="34" charset="0"/>
              </a:rPr>
              <a:t>A solar panel affixed to it heats the system with the rationale of killing all pathogens in the wastes while maintaining methane-producing bacteria for biogas and methane production. </a:t>
            </a:r>
          </a:p>
          <a:p>
            <a:pPr marL="180000" marR="0" lvl="0" indent="-180000" algn="just" defTabSz="1043056" rtl="0" eaLnBrk="1" fontAlgn="auto" latinLnBrk="0" hangingPunct="1">
              <a:lnSpc>
                <a:spcPct val="115000"/>
              </a:lnSpc>
              <a:spcBef>
                <a:spcPts val="0"/>
              </a:spcBef>
              <a:spcAft>
                <a:spcPts val="0"/>
              </a:spcAft>
              <a:buClr>
                <a:prstClr val="white">
                  <a:lumMod val="85000"/>
                </a:prstClr>
              </a:buClr>
              <a:buSzPct val="100000"/>
              <a:buFont typeface="Wingdings" panose="05000000000000000000" pitchFamily="2" charset="2"/>
              <a:buChar char="§"/>
              <a:tabLst/>
              <a:defRPr/>
            </a:pPr>
            <a:endParaRPr kumimoji="0" lang="en-US" sz="1600" b="0" i="0" u="none" strike="noStrike" kern="1200" cap="none" spc="0" normalizeH="0" baseline="0" noProof="0" dirty="0">
              <a:ln>
                <a:noFill/>
              </a:ln>
              <a:solidFill>
                <a:prstClr val="black"/>
              </a:solidFill>
              <a:effectLst/>
              <a:uLnTx/>
              <a:uFillTx/>
              <a:latin typeface="SKODA Next" panose="020B0504020603020204" pitchFamily="34" charset="0"/>
              <a:ea typeface="Verdana" pitchFamily="34" charset="0"/>
            </a:endParaRPr>
          </a:p>
          <a:p>
            <a:pPr marL="180000" marR="0" lvl="0" indent="-180000" algn="just" defTabSz="1043056" rtl="0" eaLnBrk="1" fontAlgn="auto" latinLnBrk="0" hangingPunct="1">
              <a:lnSpc>
                <a:spcPct val="115000"/>
              </a:lnSpc>
              <a:spcBef>
                <a:spcPts val="0"/>
              </a:spcBef>
              <a:spcAft>
                <a:spcPts val="0"/>
              </a:spcAft>
              <a:buClr>
                <a:prstClr val="white">
                  <a:lumMod val="85000"/>
                </a:prstClr>
              </a:buClr>
              <a:buSzPct val="100000"/>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SKODA Next" panose="020B0504020603020204" pitchFamily="34" charset="0"/>
                <a:ea typeface="Verdana" pitchFamily="34" charset="0"/>
              </a:rPr>
              <a:t>The </a:t>
            </a:r>
            <a:r>
              <a:rPr kumimoji="0" lang="en-US" sz="1600" b="0" i="0" u="none" strike="noStrike" kern="1200" cap="none" spc="0" normalizeH="0" baseline="0" noProof="0" dirty="0" err="1">
                <a:ln>
                  <a:noFill/>
                </a:ln>
                <a:solidFill>
                  <a:prstClr val="black"/>
                </a:solidFill>
                <a:effectLst/>
                <a:uLnTx/>
                <a:uFillTx/>
                <a:latin typeface="SKODA Next" panose="020B0504020603020204" pitchFamily="34" charset="0"/>
                <a:ea typeface="Verdana" pitchFamily="34" charset="0"/>
              </a:rPr>
              <a:t>hygienized</a:t>
            </a:r>
            <a:r>
              <a:rPr kumimoji="0" lang="en-US" sz="1600" b="0" i="0" u="none" strike="noStrike" kern="1200" cap="none" spc="0" normalizeH="0" baseline="0" noProof="0" dirty="0">
                <a:ln>
                  <a:noFill/>
                </a:ln>
                <a:solidFill>
                  <a:prstClr val="black"/>
                </a:solidFill>
                <a:effectLst/>
                <a:uLnTx/>
                <a:uFillTx/>
                <a:latin typeface="SKODA Next" panose="020B0504020603020204" pitchFamily="34" charset="0"/>
                <a:ea typeface="Verdana" pitchFamily="34" charset="0"/>
              </a:rPr>
              <a:t> digestate will be used as fertilizer for vegetable crops.</a:t>
            </a:r>
          </a:p>
          <a:p>
            <a:pPr marL="180000" marR="0" lvl="0" indent="-180000" algn="just" defTabSz="1043056" rtl="0" eaLnBrk="1" fontAlgn="auto" latinLnBrk="0" hangingPunct="1">
              <a:lnSpc>
                <a:spcPct val="115000"/>
              </a:lnSpc>
              <a:spcBef>
                <a:spcPts val="0"/>
              </a:spcBef>
              <a:spcAft>
                <a:spcPts val="0"/>
              </a:spcAft>
              <a:buClr>
                <a:prstClr val="white">
                  <a:lumMod val="85000"/>
                </a:prstClr>
              </a:buClr>
              <a:buSzPct val="100000"/>
              <a:buFont typeface="Wingdings" panose="05000000000000000000" pitchFamily="2" charset="2"/>
              <a:buChar char="§"/>
              <a:tabLst/>
              <a:defRPr/>
            </a:pPr>
            <a:endParaRPr kumimoji="0" lang="en-US" sz="1600" b="0" i="0" u="none" strike="noStrike" kern="1200" cap="none" spc="0" normalizeH="0" baseline="0" noProof="0" dirty="0">
              <a:ln>
                <a:noFill/>
              </a:ln>
              <a:solidFill>
                <a:prstClr val="black"/>
              </a:solidFill>
              <a:effectLst/>
              <a:uLnTx/>
              <a:uFillTx/>
              <a:latin typeface="SKODA Next" panose="020B0504020603020204" pitchFamily="34" charset="0"/>
              <a:ea typeface="Verdana" pitchFamily="34" charset="0"/>
            </a:endParaRPr>
          </a:p>
          <a:p>
            <a:pPr marL="180000" marR="0" lvl="0" indent="-180000" algn="just" defTabSz="1043056" rtl="0" eaLnBrk="1" fontAlgn="auto" latinLnBrk="0" hangingPunct="1">
              <a:lnSpc>
                <a:spcPct val="115000"/>
              </a:lnSpc>
              <a:spcBef>
                <a:spcPts val="0"/>
              </a:spcBef>
              <a:spcAft>
                <a:spcPts val="0"/>
              </a:spcAft>
              <a:buClr>
                <a:prstClr val="white">
                  <a:lumMod val="85000"/>
                </a:prstClr>
              </a:buClr>
              <a:buSzPct val="100000"/>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SKODA Next" panose="020B0504020603020204" pitchFamily="34" charset="0"/>
                <a:ea typeface="Verdana" pitchFamily="34" charset="0"/>
              </a:rPr>
              <a:t>The biogas can supply cooking gas for farmers or a larger scale unit (community managed model) can be connected to a combined heat and power (CHP) generator to produce electricity.</a:t>
            </a:r>
            <a:endParaRPr kumimoji="0" lang="en-GB" sz="1600" b="0" i="0" u="none" strike="noStrike" kern="1200" cap="none" spc="0" normalizeH="0" baseline="0" noProof="0" dirty="0">
              <a:ln>
                <a:noFill/>
              </a:ln>
              <a:solidFill>
                <a:prstClr val="black"/>
              </a:solidFill>
              <a:effectLst/>
              <a:uLnTx/>
              <a:uFillTx/>
              <a:latin typeface="SKODA Next" panose="020B0504020603020204" pitchFamily="34" charset="0"/>
              <a:ea typeface="Verdana" pitchFamily="34" charset="0"/>
            </a:endParaRPr>
          </a:p>
          <a:p>
            <a:pPr algn="just"/>
            <a:endParaRPr lang="en-US" dirty="0"/>
          </a:p>
        </p:txBody>
      </p:sp>
      <p:pic>
        <p:nvPicPr>
          <p:cNvPr id="4" name="Google Shape;279;p30">
            <a:extLst>
              <a:ext uri="{FF2B5EF4-FFF2-40B4-BE49-F238E27FC236}">
                <a16:creationId xmlns:a16="http://schemas.microsoft.com/office/drawing/2014/main" id="{715E82B0-A786-4805-A550-3264B27B0D5A}"/>
              </a:ext>
            </a:extLst>
          </p:cNvPr>
          <p:cNvPicPr/>
          <p:nvPr/>
        </p:nvPicPr>
        <p:blipFill>
          <a:blip r:embed="rId2" cstate="email">
            <a:alphaModFix/>
            <a:extLst>
              <a:ext uri="{28A0092B-C50C-407E-A947-70E740481C1C}">
                <a14:useLocalDpi xmlns:a14="http://schemas.microsoft.com/office/drawing/2010/main"/>
              </a:ext>
            </a:extLst>
          </a:blip>
          <a:stretch/>
        </p:blipFill>
        <p:spPr bwMode="auto">
          <a:xfrm>
            <a:off x="131324" y="6032160"/>
            <a:ext cx="628863" cy="628863"/>
          </a:xfrm>
          <a:prstGeom prst="rect">
            <a:avLst/>
          </a:prstGeom>
          <a:noFill/>
          <a:ln>
            <a:noFill/>
          </a:ln>
        </p:spPr>
      </p:pic>
      <p:pic>
        <p:nvPicPr>
          <p:cNvPr id="5" name="Picture 4" descr="Text&#10;&#10;Description automatically generated">
            <a:extLst>
              <a:ext uri="{FF2B5EF4-FFF2-40B4-BE49-F238E27FC236}">
                <a16:creationId xmlns:a16="http://schemas.microsoft.com/office/drawing/2014/main" id="{983B6262-272F-40A1-89D7-098CAC4301D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054581" y="6442604"/>
            <a:ext cx="1598425" cy="213260"/>
          </a:xfrm>
          <a:prstGeom prst="rect">
            <a:avLst/>
          </a:prstGeom>
        </p:spPr>
      </p:pic>
      <p:sp>
        <p:nvSpPr>
          <p:cNvPr id="6" name="Google Shape;313;p30">
            <a:extLst>
              <a:ext uri="{FF2B5EF4-FFF2-40B4-BE49-F238E27FC236}">
                <a16:creationId xmlns:a16="http://schemas.microsoft.com/office/drawing/2014/main" id="{109CA3C4-6B6E-47DF-8AD1-1AD484BCDECD}"/>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
        <p:nvSpPr>
          <p:cNvPr id="7" name="Rectangle 6">
            <a:extLst>
              <a:ext uri="{FF2B5EF4-FFF2-40B4-BE49-F238E27FC236}">
                <a16:creationId xmlns:a16="http://schemas.microsoft.com/office/drawing/2014/main" id="{A770574E-FAE2-4C25-AB29-CB2AF7A00F8C}"/>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BBE78D21-F132-4113-822D-750CE181DDF4}"/>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A34CAD1E-6FDF-4CCB-BEA9-C6E1D581F36A}"/>
              </a:ext>
            </a:extLst>
          </p:cNvPr>
          <p:cNvPicPr>
            <a:picLocks noChangeAspect="1"/>
          </p:cNvPicPr>
          <p:nvPr/>
        </p:nvPicPr>
        <p:blipFill>
          <a:blip r:embed="rId4"/>
          <a:stretch>
            <a:fillRect/>
          </a:stretch>
        </p:blipFill>
        <p:spPr>
          <a:xfrm>
            <a:off x="8575407" y="7077764"/>
            <a:ext cx="465011" cy="474311"/>
          </a:xfrm>
          <a:prstGeom prst="rect">
            <a:avLst/>
          </a:prstGeom>
        </p:spPr>
      </p:pic>
      <p:sp>
        <p:nvSpPr>
          <p:cNvPr id="10" name="Slide Number Placeholder 9">
            <a:extLst>
              <a:ext uri="{FF2B5EF4-FFF2-40B4-BE49-F238E27FC236}">
                <a16:creationId xmlns:a16="http://schemas.microsoft.com/office/drawing/2014/main" id="{F94A7D04-8388-46B1-87F6-63A2ABE0122F}"/>
              </a:ext>
            </a:extLst>
          </p:cNvPr>
          <p:cNvSpPr>
            <a:spLocks noGrp="1"/>
          </p:cNvSpPr>
          <p:nvPr>
            <p:ph type="sldNum" sz="quarter" idx="12"/>
          </p:nvPr>
        </p:nvSpPr>
        <p:spPr/>
        <p:txBody>
          <a:bodyPr/>
          <a:lstStyle/>
          <a:p>
            <a:fld id="{A662B3CB-E30B-451B-8500-BFF45B7F134A}" type="slidenum">
              <a:rPr lang="en-GB" smtClean="0"/>
              <a:t>13</a:t>
            </a:fld>
            <a:endParaRPr lang="en-GB"/>
          </a:p>
        </p:txBody>
      </p:sp>
      <p:sp>
        <p:nvSpPr>
          <p:cNvPr id="11" name="Rectangle 10">
            <a:extLst>
              <a:ext uri="{FF2B5EF4-FFF2-40B4-BE49-F238E27FC236}">
                <a16:creationId xmlns:a16="http://schemas.microsoft.com/office/drawing/2014/main" id="{3601945C-E5ED-4CF7-863F-7AE76A3B4F49}"/>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467137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B6902-846A-46C1-8750-F2AFC72F9E8C}"/>
              </a:ext>
            </a:extLst>
          </p:cNvPr>
          <p:cNvSpPr>
            <a:spLocks noGrp="1"/>
          </p:cNvSpPr>
          <p:nvPr>
            <p:ph type="title"/>
          </p:nvPr>
        </p:nvSpPr>
        <p:spPr>
          <a:xfrm>
            <a:off x="735062" y="1092963"/>
            <a:ext cx="9221688" cy="800885"/>
          </a:xfrm>
        </p:spPr>
        <p:txBody>
          <a:bodyPr/>
          <a:lstStyle/>
          <a:p>
            <a:r>
              <a:rPr lang="en-US" b="1" dirty="0">
                <a:latin typeface="Times New Roman" panose="02020603050405020304" pitchFamily="18" charset="0"/>
                <a:cs typeface="Times New Roman" panose="02020603050405020304" pitchFamily="18" charset="0"/>
              </a:rPr>
              <a:t>Biogas digestor at NUST</a:t>
            </a:r>
            <a:endParaRPr lang="en-GB" b="1" dirty="0">
              <a:latin typeface="Times New Roman" panose="02020603050405020304" pitchFamily="18"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EF460153-D7FA-44B4-B99B-525042BCBC9E}"/>
              </a:ext>
            </a:extLst>
          </p:cNvPr>
          <p:cNvSpPr>
            <a:spLocks noGrp="1"/>
          </p:cNvSpPr>
          <p:nvPr>
            <p:ph idx="1"/>
          </p:nvPr>
        </p:nvSpPr>
        <p:spPr>
          <a:xfrm>
            <a:off x="735062" y="1800425"/>
            <a:ext cx="9221688" cy="4397032"/>
          </a:xfrm>
        </p:spPr>
        <p:txBody>
          <a:bodyPr/>
          <a:lstStyle/>
          <a:p>
            <a:r>
              <a:rPr lang="en-US" dirty="0"/>
              <a:t>Kitchen waste from the Hotel School kitchen </a:t>
            </a:r>
            <a:r>
              <a:rPr lang="en-US" dirty="0" err="1"/>
              <a:t>woulb</a:t>
            </a:r>
            <a:r>
              <a:rPr lang="en-US" dirty="0"/>
              <a:t> be used for feeding the digestor. When feeding the biogas, the kitchen wastes need to be liquified. </a:t>
            </a:r>
          </a:p>
          <a:p>
            <a:r>
              <a:rPr lang="en-US" dirty="0"/>
              <a:t>Kitchen wastes can be introduced at least two weeks after introducing wet manure in the biogas.</a:t>
            </a:r>
            <a:endParaRPr lang="en-GB" dirty="0"/>
          </a:p>
        </p:txBody>
      </p:sp>
      <p:pic>
        <p:nvPicPr>
          <p:cNvPr id="4" name="Picture 3">
            <a:extLst>
              <a:ext uri="{FF2B5EF4-FFF2-40B4-BE49-F238E27FC236}">
                <a16:creationId xmlns:a16="http://schemas.microsoft.com/office/drawing/2014/main" id="{7C2C083C-D32A-418C-AFBF-3977DC05AD92}"/>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976055" y="3050338"/>
            <a:ext cx="2892888" cy="2439070"/>
          </a:xfrm>
          <a:prstGeom prst="rect">
            <a:avLst/>
          </a:prstGeom>
        </p:spPr>
      </p:pic>
      <p:pic>
        <p:nvPicPr>
          <p:cNvPr id="5" name="Picture 4">
            <a:extLst>
              <a:ext uri="{FF2B5EF4-FFF2-40B4-BE49-F238E27FC236}">
                <a16:creationId xmlns:a16="http://schemas.microsoft.com/office/drawing/2014/main" id="{E5EFFEE2-DD44-4B53-B8B8-9D76010FD7B6}"/>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6643592" y="3050338"/>
            <a:ext cx="2650949" cy="2642588"/>
          </a:xfrm>
          <a:prstGeom prst="rect">
            <a:avLst/>
          </a:prstGeom>
        </p:spPr>
      </p:pic>
      <p:sp>
        <p:nvSpPr>
          <p:cNvPr id="6" name="TextBox 5">
            <a:extLst>
              <a:ext uri="{FF2B5EF4-FFF2-40B4-BE49-F238E27FC236}">
                <a16:creationId xmlns:a16="http://schemas.microsoft.com/office/drawing/2014/main" id="{6BB370FE-00E9-4B9E-8124-0BB6CD3862C2}"/>
              </a:ext>
            </a:extLst>
          </p:cNvPr>
          <p:cNvSpPr txBox="1"/>
          <p:nvPr/>
        </p:nvSpPr>
        <p:spPr>
          <a:xfrm>
            <a:off x="976055" y="5692926"/>
            <a:ext cx="2815034" cy="254237"/>
          </a:xfrm>
          <a:prstGeom prst="rect">
            <a:avLst/>
          </a:prstGeom>
          <a:noFill/>
        </p:spPr>
        <p:txBody>
          <a:bodyPr wrap="square" rtlCol="0">
            <a:spAutoFit/>
          </a:bodyPr>
          <a:lstStyle/>
          <a:p>
            <a:r>
              <a:rPr lang="en-US" sz="1052" i="1" dirty="0"/>
              <a:t>Figure 6: Biogas construction at NUST pilot site</a:t>
            </a:r>
            <a:endParaRPr lang="en-GB" sz="1052" i="1" dirty="0"/>
          </a:p>
        </p:txBody>
      </p:sp>
      <p:sp>
        <p:nvSpPr>
          <p:cNvPr id="7" name="TextBox 6">
            <a:extLst>
              <a:ext uri="{FF2B5EF4-FFF2-40B4-BE49-F238E27FC236}">
                <a16:creationId xmlns:a16="http://schemas.microsoft.com/office/drawing/2014/main" id="{BA4D2777-BDD4-4249-967E-C1F1292846F0}"/>
              </a:ext>
            </a:extLst>
          </p:cNvPr>
          <p:cNvSpPr txBox="1"/>
          <p:nvPr/>
        </p:nvSpPr>
        <p:spPr>
          <a:xfrm>
            <a:off x="6392352" y="5884070"/>
            <a:ext cx="3035971" cy="254237"/>
          </a:xfrm>
          <a:prstGeom prst="rect">
            <a:avLst/>
          </a:prstGeom>
          <a:noFill/>
        </p:spPr>
        <p:txBody>
          <a:bodyPr wrap="square" rtlCol="0">
            <a:spAutoFit/>
          </a:bodyPr>
          <a:lstStyle/>
          <a:p>
            <a:r>
              <a:rPr lang="en-US" sz="1052" i="1" dirty="0"/>
              <a:t>Figure 7: Completed biogas covered in a greenhouse</a:t>
            </a:r>
            <a:endParaRPr lang="en-GB" sz="1052" i="1" dirty="0"/>
          </a:p>
        </p:txBody>
      </p:sp>
      <p:pic>
        <p:nvPicPr>
          <p:cNvPr id="8" name="Google Shape;279;p30">
            <a:extLst>
              <a:ext uri="{FF2B5EF4-FFF2-40B4-BE49-F238E27FC236}">
                <a16:creationId xmlns:a16="http://schemas.microsoft.com/office/drawing/2014/main" id="{E3C691F8-8F61-44F4-A43E-323D852C1883}"/>
              </a:ext>
            </a:extLst>
          </p:cNvPr>
          <p:cNvPicPr/>
          <p:nvPr/>
        </p:nvPicPr>
        <p:blipFill>
          <a:blip r:embed="rId4" cstate="email">
            <a:alphaModFix/>
            <a:extLst>
              <a:ext uri="{28A0092B-C50C-407E-A947-70E740481C1C}">
                <a14:useLocalDpi xmlns:a14="http://schemas.microsoft.com/office/drawing/2010/main"/>
              </a:ext>
            </a:extLst>
          </a:blip>
          <a:stretch/>
        </p:blipFill>
        <p:spPr bwMode="auto">
          <a:xfrm>
            <a:off x="51702" y="6128172"/>
            <a:ext cx="628863" cy="628863"/>
          </a:xfrm>
          <a:prstGeom prst="rect">
            <a:avLst/>
          </a:prstGeom>
          <a:noFill/>
          <a:ln>
            <a:noFill/>
          </a:ln>
        </p:spPr>
      </p:pic>
      <p:pic>
        <p:nvPicPr>
          <p:cNvPr id="9" name="Picture 8" descr="Text&#10;&#10;Description automatically generated">
            <a:extLst>
              <a:ext uri="{FF2B5EF4-FFF2-40B4-BE49-F238E27FC236}">
                <a16:creationId xmlns:a16="http://schemas.microsoft.com/office/drawing/2014/main" id="{AD9DA9CF-D400-4C3D-A417-0E9959BA06C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1054581" y="6442604"/>
            <a:ext cx="1598425" cy="213260"/>
          </a:xfrm>
          <a:prstGeom prst="rect">
            <a:avLst/>
          </a:prstGeom>
        </p:spPr>
      </p:pic>
      <p:sp>
        <p:nvSpPr>
          <p:cNvPr id="10" name="Google Shape;313;p30">
            <a:extLst>
              <a:ext uri="{FF2B5EF4-FFF2-40B4-BE49-F238E27FC236}">
                <a16:creationId xmlns:a16="http://schemas.microsoft.com/office/drawing/2014/main" id="{0D7B2DE8-3881-4F8F-A318-2F35B45F6DD9}"/>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
        <p:nvSpPr>
          <p:cNvPr id="11" name="Rectangle 10">
            <a:extLst>
              <a:ext uri="{FF2B5EF4-FFF2-40B4-BE49-F238E27FC236}">
                <a16:creationId xmlns:a16="http://schemas.microsoft.com/office/drawing/2014/main" id="{2643AE55-6404-47F1-8CD5-CAAB92B5202E}"/>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39240205-ACDE-425E-BA4D-374339D8A2E0}"/>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13" name="Picture 12">
            <a:extLst>
              <a:ext uri="{FF2B5EF4-FFF2-40B4-BE49-F238E27FC236}">
                <a16:creationId xmlns:a16="http://schemas.microsoft.com/office/drawing/2014/main" id="{EB76737E-C90A-43FC-BE92-95C79CB79557}"/>
              </a:ext>
            </a:extLst>
          </p:cNvPr>
          <p:cNvPicPr>
            <a:picLocks noChangeAspect="1"/>
          </p:cNvPicPr>
          <p:nvPr/>
        </p:nvPicPr>
        <p:blipFill>
          <a:blip r:embed="rId6"/>
          <a:stretch>
            <a:fillRect/>
          </a:stretch>
        </p:blipFill>
        <p:spPr>
          <a:xfrm>
            <a:off x="8575407" y="7077764"/>
            <a:ext cx="465011" cy="474311"/>
          </a:xfrm>
          <a:prstGeom prst="rect">
            <a:avLst/>
          </a:prstGeom>
        </p:spPr>
      </p:pic>
      <p:sp>
        <p:nvSpPr>
          <p:cNvPr id="14" name="Slide Number Placeholder 13">
            <a:extLst>
              <a:ext uri="{FF2B5EF4-FFF2-40B4-BE49-F238E27FC236}">
                <a16:creationId xmlns:a16="http://schemas.microsoft.com/office/drawing/2014/main" id="{01E30FF1-859D-469E-BC28-B24CE87C1033}"/>
              </a:ext>
            </a:extLst>
          </p:cNvPr>
          <p:cNvSpPr>
            <a:spLocks noGrp="1"/>
          </p:cNvSpPr>
          <p:nvPr>
            <p:ph type="sldNum" sz="quarter" idx="12"/>
          </p:nvPr>
        </p:nvSpPr>
        <p:spPr/>
        <p:txBody>
          <a:bodyPr/>
          <a:lstStyle/>
          <a:p>
            <a:fld id="{A662B3CB-E30B-451B-8500-BFF45B7F134A}" type="slidenum">
              <a:rPr lang="en-GB" smtClean="0"/>
              <a:t>14</a:t>
            </a:fld>
            <a:endParaRPr lang="en-GB"/>
          </a:p>
        </p:txBody>
      </p:sp>
      <p:sp>
        <p:nvSpPr>
          <p:cNvPr id="15" name="Rectangle 14">
            <a:extLst>
              <a:ext uri="{FF2B5EF4-FFF2-40B4-BE49-F238E27FC236}">
                <a16:creationId xmlns:a16="http://schemas.microsoft.com/office/drawing/2014/main" id="{DDB7EAC4-FB6A-48D3-8F31-AB404A3C163F}"/>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142480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B1028-A4F4-43D2-8A22-327CD3F2B7FA}"/>
              </a:ext>
            </a:extLst>
          </p:cNvPr>
          <p:cNvSpPr>
            <a:spLocks noGrp="1"/>
          </p:cNvSpPr>
          <p:nvPr>
            <p:ph type="title"/>
          </p:nvPr>
        </p:nvSpPr>
        <p:spPr>
          <a:xfrm>
            <a:off x="735062" y="1092963"/>
            <a:ext cx="9221688" cy="637394"/>
          </a:xfrm>
        </p:spPr>
        <p:txBody>
          <a:bodyPr/>
          <a:lstStyle/>
          <a:p>
            <a:r>
              <a:rPr lang="en-US" b="1" dirty="0" err="1">
                <a:latin typeface="Times New Roman" panose="02020603050405020304" pitchFamily="18" charset="0"/>
                <a:cs typeface="Times New Roman" panose="02020603050405020304" pitchFamily="18" charset="0"/>
              </a:rPr>
              <a:t>BioChar</a:t>
            </a:r>
            <a:r>
              <a:rPr lang="en-US" b="1" dirty="0">
                <a:latin typeface="Times New Roman" panose="02020603050405020304" pitchFamily="18" charset="0"/>
                <a:cs typeface="Times New Roman" panose="02020603050405020304" pitchFamily="18" charset="0"/>
              </a:rPr>
              <a:t> Kiln</a:t>
            </a:r>
            <a:endParaRPr lang="en-GB" b="1" dirty="0">
              <a:latin typeface="Times New Roman" panose="02020603050405020304" pitchFamily="18"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D803BC6D-68EC-4E24-BB3B-6A555608A0E0}"/>
              </a:ext>
            </a:extLst>
          </p:cNvPr>
          <p:cNvSpPr>
            <a:spLocks noGrp="1"/>
          </p:cNvSpPr>
          <p:nvPr>
            <p:ph idx="1"/>
          </p:nvPr>
        </p:nvSpPr>
        <p:spPr>
          <a:xfrm>
            <a:off x="735062" y="1924989"/>
            <a:ext cx="9221688" cy="4264683"/>
          </a:xfrm>
        </p:spPr>
        <p:txBody>
          <a:bodyPr/>
          <a:lstStyle/>
          <a:p>
            <a:r>
              <a:rPr lang="en-US" dirty="0"/>
              <a:t>A Top Lit Updraft (TLUD) kiln for biochar production will be designed and optimized, working with different environments and feedstocks.</a:t>
            </a:r>
          </a:p>
          <a:p>
            <a:r>
              <a:rPr lang="en-US" dirty="0"/>
              <a:t>NUST will develop a low-cost, manually operated mobile biochar kiln, which can be constructed using only local materials, skills and equipment.</a:t>
            </a:r>
          </a:p>
          <a:p>
            <a:r>
              <a:rPr lang="en-US" dirty="0"/>
              <a:t>The DIVAGRI TLUD incorporates secondary waste heat recovery and utilization for communal purposes, such as hot water and cooking.</a:t>
            </a:r>
          </a:p>
          <a:p>
            <a:r>
              <a:rPr lang="en-US" dirty="0"/>
              <a:t>The main purpose of the system allows for biochar production on small-scale SME level, which can be collected and sold for additional income. </a:t>
            </a:r>
            <a:endParaRPr lang="en-GB" dirty="0"/>
          </a:p>
        </p:txBody>
      </p:sp>
      <p:pic>
        <p:nvPicPr>
          <p:cNvPr id="4" name="Google Shape;279;p30">
            <a:extLst>
              <a:ext uri="{FF2B5EF4-FFF2-40B4-BE49-F238E27FC236}">
                <a16:creationId xmlns:a16="http://schemas.microsoft.com/office/drawing/2014/main" id="{4A5458D5-1185-4D32-8F94-DE49FD60C83E}"/>
              </a:ext>
            </a:extLst>
          </p:cNvPr>
          <p:cNvPicPr/>
          <p:nvPr/>
        </p:nvPicPr>
        <p:blipFill>
          <a:blip r:embed="rId2" cstate="email">
            <a:alphaModFix/>
            <a:extLst>
              <a:ext uri="{28A0092B-C50C-407E-A947-70E740481C1C}">
                <a14:useLocalDpi xmlns:a14="http://schemas.microsoft.com/office/drawing/2010/main"/>
              </a:ext>
            </a:extLst>
          </a:blip>
          <a:stretch/>
        </p:blipFill>
        <p:spPr bwMode="auto">
          <a:xfrm>
            <a:off x="131324" y="6032160"/>
            <a:ext cx="628863" cy="628863"/>
          </a:xfrm>
          <a:prstGeom prst="rect">
            <a:avLst/>
          </a:prstGeom>
          <a:noFill/>
          <a:ln>
            <a:noFill/>
          </a:ln>
        </p:spPr>
      </p:pic>
      <p:pic>
        <p:nvPicPr>
          <p:cNvPr id="5" name="Picture 4" descr="Text&#10;&#10;Description automatically generated">
            <a:extLst>
              <a:ext uri="{FF2B5EF4-FFF2-40B4-BE49-F238E27FC236}">
                <a16:creationId xmlns:a16="http://schemas.microsoft.com/office/drawing/2014/main" id="{FA82A8EE-98B7-4A2B-874A-C7BC5749B79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054581" y="6442604"/>
            <a:ext cx="1598425" cy="213260"/>
          </a:xfrm>
          <a:prstGeom prst="rect">
            <a:avLst/>
          </a:prstGeom>
        </p:spPr>
      </p:pic>
      <p:sp>
        <p:nvSpPr>
          <p:cNvPr id="6" name="Google Shape;313;p30">
            <a:extLst>
              <a:ext uri="{FF2B5EF4-FFF2-40B4-BE49-F238E27FC236}">
                <a16:creationId xmlns:a16="http://schemas.microsoft.com/office/drawing/2014/main" id="{12E4FA5B-61B5-448C-90B5-87A2C1EF6E99}"/>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
        <p:nvSpPr>
          <p:cNvPr id="7" name="Rectangle 6">
            <a:extLst>
              <a:ext uri="{FF2B5EF4-FFF2-40B4-BE49-F238E27FC236}">
                <a16:creationId xmlns:a16="http://schemas.microsoft.com/office/drawing/2014/main" id="{B160DF4F-59CD-492E-B960-0E709BF69AE9}"/>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E4DDB38-793C-4B6B-9F44-A02B1C4FFBD5}"/>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2ABB5163-49F6-464D-9067-3886CC726795}"/>
              </a:ext>
            </a:extLst>
          </p:cNvPr>
          <p:cNvPicPr>
            <a:picLocks noChangeAspect="1"/>
          </p:cNvPicPr>
          <p:nvPr/>
        </p:nvPicPr>
        <p:blipFill>
          <a:blip r:embed="rId4"/>
          <a:stretch>
            <a:fillRect/>
          </a:stretch>
        </p:blipFill>
        <p:spPr>
          <a:xfrm>
            <a:off x="8575407" y="7077764"/>
            <a:ext cx="465011" cy="474311"/>
          </a:xfrm>
          <a:prstGeom prst="rect">
            <a:avLst/>
          </a:prstGeom>
        </p:spPr>
      </p:pic>
      <p:sp>
        <p:nvSpPr>
          <p:cNvPr id="10" name="Slide Number Placeholder 9">
            <a:extLst>
              <a:ext uri="{FF2B5EF4-FFF2-40B4-BE49-F238E27FC236}">
                <a16:creationId xmlns:a16="http://schemas.microsoft.com/office/drawing/2014/main" id="{E65FA140-CEE8-4193-B30C-1412CD3C1E9C}"/>
              </a:ext>
            </a:extLst>
          </p:cNvPr>
          <p:cNvSpPr>
            <a:spLocks noGrp="1"/>
          </p:cNvSpPr>
          <p:nvPr>
            <p:ph type="sldNum" sz="quarter" idx="12"/>
          </p:nvPr>
        </p:nvSpPr>
        <p:spPr/>
        <p:txBody>
          <a:bodyPr/>
          <a:lstStyle/>
          <a:p>
            <a:fld id="{A662B3CB-E30B-451B-8500-BFF45B7F134A}" type="slidenum">
              <a:rPr lang="en-GB" smtClean="0"/>
              <a:t>15</a:t>
            </a:fld>
            <a:endParaRPr lang="en-GB"/>
          </a:p>
        </p:txBody>
      </p:sp>
      <p:sp>
        <p:nvSpPr>
          <p:cNvPr id="11" name="Rectangle 10">
            <a:extLst>
              <a:ext uri="{FF2B5EF4-FFF2-40B4-BE49-F238E27FC236}">
                <a16:creationId xmlns:a16="http://schemas.microsoft.com/office/drawing/2014/main" id="{BA21FA87-3D20-425A-B0D4-1EC9735B3AE1}"/>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5537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36D08-EC4D-4A53-9699-FF09EA5EFD9D}"/>
              </a:ext>
            </a:extLst>
          </p:cNvPr>
          <p:cNvSpPr>
            <a:spLocks noGrp="1"/>
          </p:cNvSpPr>
          <p:nvPr>
            <p:ph type="title"/>
          </p:nvPr>
        </p:nvSpPr>
        <p:spPr>
          <a:xfrm>
            <a:off x="643943" y="259280"/>
            <a:ext cx="9221688" cy="785315"/>
          </a:xfrm>
        </p:spPr>
        <p:txBody>
          <a:bodyPr/>
          <a:lstStyle/>
          <a:p>
            <a:r>
              <a:rPr lang="en-US" b="1" dirty="0" err="1">
                <a:latin typeface="Times New Roman" panose="02020603050405020304" pitchFamily="18" charset="0"/>
                <a:cs typeface="Times New Roman" panose="02020603050405020304" pitchFamily="18" charset="0"/>
              </a:rPr>
              <a:t>BioChar</a:t>
            </a:r>
            <a:r>
              <a:rPr lang="en-US" b="1" dirty="0">
                <a:latin typeface="Times New Roman" panose="02020603050405020304" pitchFamily="18" charset="0"/>
                <a:cs typeface="Times New Roman" panose="02020603050405020304" pitchFamily="18" charset="0"/>
              </a:rPr>
              <a:t> production at NUST</a:t>
            </a:r>
            <a:endParaRPr lang="en-GB" b="1" dirty="0">
              <a:latin typeface="Times New Roman" panose="02020603050405020304" pitchFamily="18"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1DBCA01D-CDE4-4951-AA16-DABA254E82D9}"/>
              </a:ext>
            </a:extLst>
          </p:cNvPr>
          <p:cNvSpPr>
            <a:spLocks noGrp="1"/>
          </p:cNvSpPr>
          <p:nvPr>
            <p:ph idx="1"/>
          </p:nvPr>
        </p:nvSpPr>
        <p:spPr>
          <a:xfrm>
            <a:off x="342849" y="1256371"/>
            <a:ext cx="9221688" cy="1766229"/>
          </a:xfrm>
        </p:spPr>
        <p:txBody>
          <a:bodyPr>
            <a:normAutofit/>
          </a:bodyPr>
          <a:lstStyle/>
          <a:p>
            <a:pPr marL="0">
              <a:lnSpc>
                <a:spcPct val="107000"/>
              </a:lnSpc>
              <a:spcAft>
                <a:spcPts val="702"/>
              </a:spcAft>
            </a:pPr>
            <a:r>
              <a:rPr lang="en-US" dirty="0">
                <a:latin typeface="Calibri" panose="020F0502020204030204" pitchFamily="34" charset="0"/>
                <a:ea typeface="Calibri" panose="020F0502020204030204" pitchFamily="34" charset="0"/>
                <a:cs typeface="Times New Roman" panose="02020603050405020304" pitchFamily="18" charset="0"/>
              </a:rPr>
              <a:t>The biochar produced used; wood chips that weigh 2.0 kg, Weight of wood used for cooking both meat and rice 6.6 kg.</a:t>
            </a:r>
          </a:p>
          <a:p>
            <a:pPr marL="0">
              <a:lnSpc>
                <a:spcPct val="107000"/>
              </a:lnSpc>
              <a:spcAft>
                <a:spcPts val="702"/>
              </a:spcAft>
            </a:pPr>
            <a:r>
              <a:rPr lang="en-US" dirty="0">
                <a:latin typeface="Calibri" panose="020F0502020204030204" pitchFamily="34" charset="0"/>
                <a:ea typeface="Calibri" panose="020F0502020204030204" pitchFamily="34" charset="0"/>
                <a:cs typeface="Times New Roman" panose="02020603050405020304" pitchFamily="18" charset="0"/>
              </a:rPr>
              <a:t>The experiment started at 14:30 to 15:20, so the total burning was 50min.</a:t>
            </a:r>
          </a:p>
          <a:p>
            <a:pPr marL="0">
              <a:lnSpc>
                <a:spcPct val="107000"/>
              </a:lnSpc>
              <a:spcAft>
                <a:spcPts val="702"/>
              </a:spcAft>
            </a:pPr>
            <a:endParaRPr lang="en-GB" dirty="0">
              <a:latin typeface="Calibri" panose="020F0502020204030204" pitchFamily="34" charset="0"/>
              <a:ea typeface="Calibri" panose="020F0502020204030204" pitchFamily="34" charset="0"/>
              <a:cs typeface="Times New Roman" panose="02020603050405020304" pitchFamily="18" charset="0"/>
            </a:endParaRPr>
          </a:p>
          <a:p>
            <a:pPr marL="0">
              <a:lnSpc>
                <a:spcPct val="107000"/>
              </a:lnSpc>
              <a:spcAft>
                <a:spcPts val="702"/>
              </a:spcAft>
            </a:pPr>
            <a:r>
              <a:rPr lang="en-US" dirty="0">
                <a:latin typeface="Calibri" panose="020F0502020204030204" pitchFamily="34" charset="0"/>
                <a:ea typeface="Calibri" panose="020F0502020204030204" pitchFamily="34" charset="0"/>
                <a:cs typeface="Times New Roman" panose="02020603050405020304" pitchFamily="18" charset="0"/>
              </a:rPr>
              <a:t>B</a:t>
            </a:r>
            <a:r>
              <a:rPr lang="en-GB" dirty="0" err="1">
                <a:latin typeface="Calibri" panose="020F0502020204030204" pitchFamily="34" charset="0"/>
                <a:ea typeface="Calibri" panose="020F0502020204030204" pitchFamily="34" charset="0"/>
                <a:cs typeface="Times New Roman" panose="02020603050405020304" pitchFamily="18" charset="0"/>
              </a:rPr>
              <a:t>iochar</a:t>
            </a:r>
            <a:r>
              <a:rPr lang="en-GB" dirty="0">
                <a:latin typeface="Calibri" panose="020F0502020204030204" pitchFamily="34" charset="0"/>
                <a:ea typeface="Calibri" panose="020F0502020204030204" pitchFamily="34" charset="0"/>
                <a:cs typeface="Times New Roman" panose="02020603050405020304" pitchFamily="18" charset="0"/>
              </a:rPr>
              <a:t> produced was weighed 1.02 kg.</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4" name="Google Shape;279;p30">
            <a:extLst>
              <a:ext uri="{FF2B5EF4-FFF2-40B4-BE49-F238E27FC236}">
                <a16:creationId xmlns:a16="http://schemas.microsoft.com/office/drawing/2014/main" id="{C28C8AA2-1D58-4E1D-B00D-9B66F6789D29}"/>
              </a:ext>
            </a:extLst>
          </p:cNvPr>
          <p:cNvPicPr/>
          <p:nvPr/>
        </p:nvPicPr>
        <p:blipFill>
          <a:blip r:embed="rId2" cstate="email">
            <a:alphaModFix/>
            <a:extLst>
              <a:ext uri="{28A0092B-C50C-407E-A947-70E740481C1C}">
                <a14:useLocalDpi xmlns:a14="http://schemas.microsoft.com/office/drawing/2010/main"/>
              </a:ext>
            </a:extLst>
          </a:blip>
          <a:stretch/>
        </p:blipFill>
        <p:spPr bwMode="auto">
          <a:xfrm>
            <a:off x="131324" y="6032160"/>
            <a:ext cx="628863" cy="628863"/>
          </a:xfrm>
          <a:prstGeom prst="rect">
            <a:avLst/>
          </a:prstGeom>
          <a:noFill/>
          <a:ln>
            <a:noFill/>
          </a:ln>
        </p:spPr>
      </p:pic>
      <p:pic>
        <p:nvPicPr>
          <p:cNvPr id="5" name="Picture 4" descr="Text&#10;&#10;Description automatically generated">
            <a:extLst>
              <a:ext uri="{FF2B5EF4-FFF2-40B4-BE49-F238E27FC236}">
                <a16:creationId xmlns:a16="http://schemas.microsoft.com/office/drawing/2014/main" id="{9CDD78DF-1C71-459D-BC4B-CC928FFEA34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054581" y="6442604"/>
            <a:ext cx="1598425" cy="213260"/>
          </a:xfrm>
          <a:prstGeom prst="rect">
            <a:avLst/>
          </a:prstGeom>
        </p:spPr>
      </p:pic>
      <p:sp>
        <p:nvSpPr>
          <p:cNvPr id="6" name="Google Shape;313;p30">
            <a:extLst>
              <a:ext uri="{FF2B5EF4-FFF2-40B4-BE49-F238E27FC236}">
                <a16:creationId xmlns:a16="http://schemas.microsoft.com/office/drawing/2014/main" id="{0C8AF079-6909-4C63-AA5B-25D0779FC56B}"/>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
        <p:nvSpPr>
          <p:cNvPr id="7" name="Rectangle 6">
            <a:extLst>
              <a:ext uri="{FF2B5EF4-FFF2-40B4-BE49-F238E27FC236}">
                <a16:creationId xmlns:a16="http://schemas.microsoft.com/office/drawing/2014/main" id="{6FE8E983-5A4C-4F89-949C-FABF9482A694}"/>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1C4A8339-A070-4032-8D83-F03CFA1DABAB}"/>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7CEB53E2-5E68-41DC-BE94-0FB9BA76F711}"/>
              </a:ext>
            </a:extLst>
          </p:cNvPr>
          <p:cNvPicPr>
            <a:picLocks noChangeAspect="1"/>
          </p:cNvPicPr>
          <p:nvPr/>
        </p:nvPicPr>
        <p:blipFill>
          <a:blip r:embed="rId4"/>
          <a:stretch>
            <a:fillRect/>
          </a:stretch>
        </p:blipFill>
        <p:spPr>
          <a:xfrm>
            <a:off x="8575407" y="7077764"/>
            <a:ext cx="465011" cy="474311"/>
          </a:xfrm>
          <a:prstGeom prst="rect">
            <a:avLst/>
          </a:prstGeom>
        </p:spPr>
      </p:pic>
      <p:sp>
        <p:nvSpPr>
          <p:cNvPr id="10" name="Slide Number Placeholder 9">
            <a:extLst>
              <a:ext uri="{FF2B5EF4-FFF2-40B4-BE49-F238E27FC236}">
                <a16:creationId xmlns:a16="http://schemas.microsoft.com/office/drawing/2014/main" id="{7827690B-12E7-40AB-9427-3BBDF41A08CF}"/>
              </a:ext>
            </a:extLst>
          </p:cNvPr>
          <p:cNvSpPr>
            <a:spLocks noGrp="1"/>
          </p:cNvSpPr>
          <p:nvPr>
            <p:ph type="sldNum" sz="quarter" idx="12"/>
          </p:nvPr>
        </p:nvSpPr>
        <p:spPr/>
        <p:txBody>
          <a:bodyPr/>
          <a:lstStyle/>
          <a:p>
            <a:fld id="{A662B3CB-E30B-451B-8500-BFF45B7F134A}" type="slidenum">
              <a:rPr lang="en-GB" smtClean="0"/>
              <a:t>16</a:t>
            </a:fld>
            <a:endParaRPr lang="en-GB"/>
          </a:p>
        </p:txBody>
      </p:sp>
      <p:sp>
        <p:nvSpPr>
          <p:cNvPr id="11" name="Rectangle 10">
            <a:extLst>
              <a:ext uri="{FF2B5EF4-FFF2-40B4-BE49-F238E27FC236}">
                <a16:creationId xmlns:a16="http://schemas.microsoft.com/office/drawing/2014/main" id="{B979860F-1833-40DC-A624-F14BB194573F}"/>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21D1103E-51DA-2B71-D64D-C4B534C09D22}"/>
              </a:ext>
            </a:extLst>
          </p:cNvPr>
          <p:cNvPicPr>
            <a:picLocks noChangeAspect="1"/>
          </p:cNvPicPr>
          <p:nvPr/>
        </p:nvPicPr>
        <p:blipFill>
          <a:blip r:embed="rId5"/>
          <a:stretch>
            <a:fillRect/>
          </a:stretch>
        </p:blipFill>
        <p:spPr>
          <a:xfrm>
            <a:off x="477829" y="3193637"/>
            <a:ext cx="2964605" cy="2686875"/>
          </a:xfrm>
          <a:prstGeom prst="rect">
            <a:avLst/>
          </a:prstGeom>
        </p:spPr>
      </p:pic>
      <p:pic>
        <p:nvPicPr>
          <p:cNvPr id="13" name="Picture 12">
            <a:extLst>
              <a:ext uri="{FF2B5EF4-FFF2-40B4-BE49-F238E27FC236}">
                <a16:creationId xmlns:a16="http://schemas.microsoft.com/office/drawing/2014/main" id="{1600B698-B3F6-61D4-7CAA-9D621AC57EB0}"/>
              </a:ext>
            </a:extLst>
          </p:cNvPr>
          <p:cNvPicPr>
            <a:picLocks noChangeAspect="1"/>
          </p:cNvPicPr>
          <p:nvPr/>
        </p:nvPicPr>
        <p:blipFill>
          <a:blip r:embed="rId6"/>
          <a:stretch>
            <a:fillRect/>
          </a:stretch>
        </p:blipFill>
        <p:spPr>
          <a:xfrm>
            <a:off x="3986777" y="3234376"/>
            <a:ext cx="2971063" cy="2686875"/>
          </a:xfrm>
          <a:prstGeom prst="rect">
            <a:avLst/>
          </a:prstGeom>
        </p:spPr>
      </p:pic>
      <p:pic>
        <p:nvPicPr>
          <p:cNvPr id="15" name="Picture 14" descr="A metal trash can on a fence&#10;&#10;Description automatically generated">
            <a:extLst>
              <a:ext uri="{FF2B5EF4-FFF2-40B4-BE49-F238E27FC236}">
                <a16:creationId xmlns:a16="http://schemas.microsoft.com/office/drawing/2014/main" id="{A806C0A9-FE9F-CA9C-3604-D33A05E77DB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7266760" y="3189088"/>
            <a:ext cx="3594629" cy="2695972"/>
          </a:xfrm>
          <a:prstGeom prst="rect">
            <a:avLst/>
          </a:prstGeom>
        </p:spPr>
      </p:pic>
    </p:spTree>
    <p:extLst>
      <p:ext uri="{BB962C8B-B14F-4D97-AF65-F5344CB8AC3E}">
        <p14:creationId xmlns:p14="http://schemas.microsoft.com/office/powerpoint/2010/main" val="41145203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6F236-E222-4735-98D8-E61B8CF7F58A}"/>
              </a:ext>
            </a:extLst>
          </p:cNvPr>
          <p:cNvSpPr>
            <a:spLocks noGrp="1"/>
          </p:cNvSpPr>
          <p:nvPr>
            <p:ph type="title"/>
          </p:nvPr>
        </p:nvSpPr>
        <p:spPr>
          <a:xfrm>
            <a:off x="342848" y="288493"/>
            <a:ext cx="10006115" cy="858913"/>
          </a:xfrm>
        </p:spPr>
        <p:txBody>
          <a:bodyPr>
            <a:noAutofit/>
          </a:bodyPr>
          <a:lstStyle/>
          <a:p>
            <a:r>
              <a:rPr lang="en-US" b="1" dirty="0">
                <a:latin typeface="Times New Roman" panose="02020603050405020304" pitchFamily="18" charset="0"/>
                <a:cs typeface="Times New Roman" panose="02020603050405020304" pitchFamily="18" charset="0"/>
              </a:rPr>
              <a:t>Mobile integrated biorefineries for conversion of farming residues to high-value chemicals</a:t>
            </a:r>
            <a:endParaRPr lang="en-GB" b="1" dirty="0">
              <a:latin typeface="Times New Roman" panose="02020603050405020304" pitchFamily="18"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C24ED221-0758-4FFD-8E4D-C6ED610CD640}"/>
              </a:ext>
            </a:extLst>
          </p:cNvPr>
          <p:cNvSpPr>
            <a:spLocks noGrp="1"/>
          </p:cNvSpPr>
          <p:nvPr>
            <p:ph idx="1"/>
          </p:nvPr>
        </p:nvSpPr>
        <p:spPr>
          <a:xfrm>
            <a:off x="342848" y="1508404"/>
            <a:ext cx="10006115" cy="2097004"/>
          </a:xfrm>
        </p:spPr>
        <p:txBody>
          <a:bodyPr>
            <a:normAutofit/>
          </a:bodyPr>
          <a:lstStyle/>
          <a:p>
            <a:r>
              <a:rPr lang="en-US" dirty="0"/>
              <a:t>DIVAGRI’s decentralized mobile integrated biorefineries consists of biomass processing (e.g. shredding) and extraction units (e.g. water or ethanol extraction) fit to the size of the particular field.</a:t>
            </a:r>
          </a:p>
          <a:p>
            <a:endParaRPr lang="en-US" dirty="0"/>
          </a:p>
          <a:p>
            <a:r>
              <a:rPr lang="en-US" dirty="0"/>
              <a:t>Bio-based materials and components (e.g. pots of burnt clay) will be used to assemble the biorefineries.</a:t>
            </a:r>
          </a:p>
          <a:p>
            <a:pPr marL="0" indent="0">
              <a:buNone/>
            </a:pPr>
            <a:endParaRPr lang="en-US" dirty="0"/>
          </a:p>
          <a:p>
            <a:r>
              <a:rPr lang="en-US" dirty="0"/>
              <a:t>The unit is constructed as a combination of sub-units, so that input feed can vary, and the output can be adapted to the needs of the user.</a:t>
            </a:r>
            <a:endParaRPr lang="en-GB" dirty="0"/>
          </a:p>
        </p:txBody>
      </p:sp>
      <p:pic>
        <p:nvPicPr>
          <p:cNvPr id="6" name="Google Shape;279;p30">
            <a:extLst>
              <a:ext uri="{FF2B5EF4-FFF2-40B4-BE49-F238E27FC236}">
                <a16:creationId xmlns:a16="http://schemas.microsoft.com/office/drawing/2014/main" id="{6CB97AB6-57CD-400C-9B15-8945279FEFD5}"/>
              </a:ext>
            </a:extLst>
          </p:cNvPr>
          <p:cNvPicPr/>
          <p:nvPr/>
        </p:nvPicPr>
        <p:blipFill>
          <a:blip r:embed="rId2" cstate="email">
            <a:alphaModFix/>
            <a:extLst>
              <a:ext uri="{28A0092B-C50C-407E-A947-70E740481C1C}">
                <a14:useLocalDpi xmlns:a14="http://schemas.microsoft.com/office/drawing/2010/main"/>
              </a:ext>
            </a:extLst>
          </a:blip>
          <a:stretch/>
        </p:blipFill>
        <p:spPr bwMode="auto">
          <a:xfrm>
            <a:off x="131324" y="6032160"/>
            <a:ext cx="628863" cy="628863"/>
          </a:xfrm>
          <a:prstGeom prst="rect">
            <a:avLst/>
          </a:prstGeom>
          <a:noFill/>
          <a:ln>
            <a:noFill/>
          </a:ln>
        </p:spPr>
      </p:pic>
      <p:pic>
        <p:nvPicPr>
          <p:cNvPr id="7" name="Picture 6" descr="Text&#10;&#10;Description automatically generated">
            <a:extLst>
              <a:ext uri="{FF2B5EF4-FFF2-40B4-BE49-F238E27FC236}">
                <a16:creationId xmlns:a16="http://schemas.microsoft.com/office/drawing/2014/main" id="{4A3AC9CB-AD7E-4DFC-85A7-7C6480577E0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054581" y="6442604"/>
            <a:ext cx="1598425" cy="213260"/>
          </a:xfrm>
          <a:prstGeom prst="rect">
            <a:avLst/>
          </a:prstGeom>
        </p:spPr>
      </p:pic>
      <p:sp>
        <p:nvSpPr>
          <p:cNvPr id="8" name="Google Shape;313;p30">
            <a:extLst>
              <a:ext uri="{FF2B5EF4-FFF2-40B4-BE49-F238E27FC236}">
                <a16:creationId xmlns:a16="http://schemas.microsoft.com/office/drawing/2014/main" id="{9F11BFF5-6E19-4B4A-ADD9-D1BBFAC86FCA}"/>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
        <p:nvSpPr>
          <p:cNvPr id="9" name="Rectangle 8">
            <a:extLst>
              <a:ext uri="{FF2B5EF4-FFF2-40B4-BE49-F238E27FC236}">
                <a16:creationId xmlns:a16="http://schemas.microsoft.com/office/drawing/2014/main" id="{D23D8970-242A-4B76-9D94-726EBEC78219}"/>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77291D46-169B-4E44-AB11-0D2A34D93B5F}"/>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11" name="Picture 10">
            <a:extLst>
              <a:ext uri="{FF2B5EF4-FFF2-40B4-BE49-F238E27FC236}">
                <a16:creationId xmlns:a16="http://schemas.microsoft.com/office/drawing/2014/main" id="{61A6F298-B7A6-4445-AA29-639C298413BA}"/>
              </a:ext>
            </a:extLst>
          </p:cNvPr>
          <p:cNvPicPr>
            <a:picLocks noChangeAspect="1"/>
          </p:cNvPicPr>
          <p:nvPr/>
        </p:nvPicPr>
        <p:blipFill>
          <a:blip r:embed="rId4"/>
          <a:stretch>
            <a:fillRect/>
          </a:stretch>
        </p:blipFill>
        <p:spPr>
          <a:xfrm>
            <a:off x="8575407" y="7077764"/>
            <a:ext cx="465011" cy="474311"/>
          </a:xfrm>
          <a:prstGeom prst="rect">
            <a:avLst/>
          </a:prstGeom>
        </p:spPr>
      </p:pic>
      <p:sp>
        <p:nvSpPr>
          <p:cNvPr id="4" name="Slide Number Placeholder 3">
            <a:extLst>
              <a:ext uri="{FF2B5EF4-FFF2-40B4-BE49-F238E27FC236}">
                <a16:creationId xmlns:a16="http://schemas.microsoft.com/office/drawing/2014/main" id="{962BFDB9-1B78-4199-A68B-25F0BB558404}"/>
              </a:ext>
            </a:extLst>
          </p:cNvPr>
          <p:cNvSpPr>
            <a:spLocks noGrp="1"/>
          </p:cNvSpPr>
          <p:nvPr>
            <p:ph type="sldNum" sz="quarter" idx="12"/>
          </p:nvPr>
        </p:nvSpPr>
        <p:spPr/>
        <p:txBody>
          <a:bodyPr/>
          <a:lstStyle/>
          <a:p>
            <a:fld id="{A662B3CB-E30B-451B-8500-BFF45B7F134A}" type="slidenum">
              <a:rPr lang="en-GB" smtClean="0"/>
              <a:t>17</a:t>
            </a:fld>
            <a:endParaRPr lang="en-GB"/>
          </a:p>
        </p:txBody>
      </p:sp>
      <p:sp>
        <p:nvSpPr>
          <p:cNvPr id="12" name="Rectangle 11">
            <a:extLst>
              <a:ext uri="{FF2B5EF4-FFF2-40B4-BE49-F238E27FC236}">
                <a16:creationId xmlns:a16="http://schemas.microsoft.com/office/drawing/2014/main" id="{4BE82427-4EAE-402B-9221-9C5CC57E0F6B}"/>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bag of mushrooms on a shelf&#10;&#10;Description automatically generated">
            <a:extLst>
              <a:ext uri="{FF2B5EF4-FFF2-40B4-BE49-F238E27FC236}">
                <a16:creationId xmlns:a16="http://schemas.microsoft.com/office/drawing/2014/main" id="{B63E6E0F-1252-B7B7-052E-8AF5A8903C5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74523" y="3532946"/>
            <a:ext cx="3596613" cy="2697460"/>
          </a:xfrm>
          <a:prstGeom prst="rect">
            <a:avLst/>
          </a:prstGeom>
        </p:spPr>
      </p:pic>
      <p:pic>
        <p:nvPicPr>
          <p:cNvPr id="15" name="Picture 14" descr="A fence with vines growing on it&#10;&#10;Description automatically generated">
            <a:extLst>
              <a:ext uri="{FF2B5EF4-FFF2-40B4-BE49-F238E27FC236}">
                <a16:creationId xmlns:a16="http://schemas.microsoft.com/office/drawing/2014/main" id="{101E0CA4-4D87-E30F-2ED4-1838358A9FA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02290" y="3560231"/>
            <a:ext cx="3596613" cy="2697460"/>
          </a:xfrm>
          <a:prstGeom prst="rect">
            <a:avLst/>
          </a:prstGeom>
        </p:spPr>
      </p:pic>
    </p:spTree>
    <p:extLst>
      <p:ext uri="{BB962C8B-B14F-4D97-AF65-F5344CB8AC3E}">
        <p14:creationId xmlns:p14="http://schemas.microsoft.com/office/powerpoint/2010/main" val="16344714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5236B47-5192-492C-A2B9-4EDA10E337A7}"/>
              </a:ext>
            </a:extLst>
          </p:cNvPr>
          <p:cNvSpPr>
            <a:spLocks noGrp="1"/>
          </p:cNvSpPr>
          <p:nvPr>
            <p:ph idx="1"/>
          </p:nvPr>
        </p:nvSpPr>
        <p:spPr>
          <a:xfrm>
            <a:off x="735062" y="1384513"/>
            <a:ext cx="9221688" cy="4805159"/>
          </a:xfrm>
        </p:spPr>
        <p:txBody>
          <a:bodyPr/>
          <a:lstStyle/>
          <a:p>
            <a:pPr marL="0" indent="0">
              <a:buNone/>
            </a:pPr>
            <a:r>
              <a:rPr lang="en-GB" dirty="0"/>
              <a:t>The sub-units are adopted to a set of steps…</a:t>
            </a:r>
          </a:p>
          <a:p>
            <a:pPr marL="0" indent="0">
              <a:buNone/>
            </a:pPr>
            <a:endParaRPr lang="en-GB" dirty="0"/>
          </a:p>
          <a:p>
            <a:pPr marL="451085" indent="-451085">
              <a:buFont typeface="+mj-lt"/>
              <a:buAutoNum type="arabicPeriod"/>
            </a:pPr>
            <a:r>
              <a:rPr lang="en-GB" dirty="0"/>
              <a:t>Mechanical processing (shredding), </a:t>
            </a:r>
          </a:p>
          <a:p>
            <a:pPr marL="451085" indent="-451085">
              <a:buFont typeface="+mj-lt"/>
              <a:buAutoNum type="arabicPeriod"/>
            </a:pPr>
            <a:r>
              <a:rPr lang="en-GB" dirty="0"/>
              <a:t>Separation of the  shredded material into fractions for various tests (phenols, essential oils, etc.) </a:t>
            </a:r>
          </a:p>
          <a:p>
            <a:pPr marL="451085" indent="-451085">
              <a:buFont typeface="+mj-lt"/>
              <a:buAutoNum type="arabicPeriod"/>
            </a:pPr>
            <a:r>
              <a:rPr lang="en-GB" dirty="0"/>
              <a:t>Extraction of different components (polyphenols, colorants or antioxidants).</a:t>
            </a:r>
          </a:p>
          <a:p>
            <a:pPr marL="451085" indent="-451085">
              <a:buFont typeface="+mj-lt"/>
              <a:buAutoNum type="arabicPeriod"/>
            </a:pPr>
            <a:r>
              <a:rPr lang="en-GB" dirty="0"/>
              <a:t>Distillation</a:t>
            </a:r>
          </a:p>
          <a:p>
            <a:pPr marL="451085" indent="-451085">
              <a:buFont typeface="+mj-lt"/>
              <a:buAutoNum type="arabicPeriod"/>
            </a:pPr>
            <a:r>
              <a:rPr lang="en-GB" dirty="0"/>
              <a:t>Fermentation (lactic acid fermentation, alcoholic fermentation or acetic acid fermentation).</a:t>
            </a:r>
          </a:p>
          <a:p>
            <a:pPr marL="451085" indent="-451085">
              <a:buFont typeface="+mj-lt"/>
              <a:buAutoNum type="arabicPeriod"/>
            </a:pPr>
            <a:endParaRPr lang="en-US" dirty="0"/>
          </a:p>
          <a:p>
            <a:r>
              <a:rPr lang="en-US" dirty="0"/>
              <a:t>The number of sub-units are evaluated against energy inputs versus easy to further processing. </a:t>
            </a:r>
          </a:p>
          <a:p>
            <a:r>
              <a:rPr lang="en-US" dirty="0"/>
              <a:t>The unit can extract high-value chemicals including colorants, fragrances and antioxidants. </a:t>
            </a:r>
          </a:p>
          <a:p>
            <a:r>
              <a:rPr lang="en-US" dirty="0"/>
              <a:t>The residues of the extraction and conversion processes can be used for feed as well as biochar and/or biogas production, which can also be designed as part of the system.</a:t>
            </a:r>
          </a:p>
          <a:p>
            <a:r>
              <a:rPr lang="en-US" dirty="0"/>
              <a:t>The carbon-depleted residues and lignocellulosic residues are returned to the fields as a rich nutrient source.</a:t>
            </a:r>
            <a:endParaRPr lang="en-GB" dirty="0"/>
          </a:p>
          <a:p>
            <a:pPr marL="0" indent="0">
              <a:buNone/>
            </a:pPr>
            <a:endParaRPr lang="en-GB" dirty="0"/>
          </a:p>
        </p:txBody>
      </p:sp>
      <p:pic>
        <p:nvPicPr>
          <p:cNvPr id="4" name="Google Shape;279;p30">
            <a:extLst>
              <a:ext uri="{FF2B5EF4-FFF2-40B4-BE49-F238E27FC236}">
                <a16:creationId xmlns:a16="http://schemas.microsoft.com/office/drawing/2014/main" id="{E73FD575-BEAC-430D-863C-2F9E19B7984D}"/>
              </a:ext>
            </a:extLst>
          </p:cNvPr>
          <p:cNvPicPr/>
          <p:nvPr/>
        </p:nvPicPr>
        <p:blipFill>
          <a:blip r:embed="rId2" cstate="email">
            <a:alphaModFix/>
            <a:extLst>
              <a:ext uri="{28A0092B-C50C-407E-A947-70E740481C1C}">
                <a14:useLocalDpi xmlns:a14="http://schemas.microsoft.com/office/drawing/2010/main"/>
              </a:ext>
            </a:extLst>
          </a:blip>
          <a:stretch/>
        </p:blipFill>
        <p:spPr bwMode="auto">
          <a:xfrm>
            <a:off x="131324" y="6032160"/>
            <a:ext cx="628863" cy="628863"/>
          </a:xfrm>
          <a:prstGeom prst="rect">
            <a:avLst/>
          </a:prstGeom>
          <a:noFill/>
          <a:ln>
            <a:noFill/>
          </a:ln>
        </p:spPr>
      </p:pic>
      <p:pic>
        <p:nvPicPr>
          <p:cNvPr id="5" name="Picture 4" descr="Text&#10;&#10;Description automatically generated">
            <a:extLst>
              <a:ext uri="{FF2B5EF4-FFF2-40B4-BE49-F238E27FC236}">
                <a16:creationId xmlns:a16="http://schemas.microsoft.com/office/drawing/2014/main" id="{D98D7A28-A88B-414A-9CC1-1BEC6F61FC4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054581" y="6442604"/>
            <a:ext cx="1598425" cy="213260"/>
          </a:xfrm>
          <a:prstGeom prst="rect">
            <a:avLst/>
          </a:prstGeom>
        </p:spPr>
      </p:pic>
      <p:sp>
        <p:nvSpPr>
          <p:cNvPr id="6" name="Google Shape;313;p30">
            <a:extLst>
              <a:ext uri="{FF2B5EF4-FFF2-40B4-BE49-F238E27FC236}">
                <a16:creationId xmlns:a16="http://schemas.microsoft.com/office/drawing/2014/main" id="{8E026F53-911F-4DCA-A4E3-71A9B918BB6E}"/>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
        <p:nvSpPr>
          <p:cNvPr id="7" name="Rectangle 6">
            <a:extLst>
              <a:ext uri="{FF2B5EF4-FFF2-40B4-BE49-F238E27FC236}">
                <a16:creationId xmlns:a16="http://schemas.microsoft.com/office/drawing/2014/main" id="{C9D5C040-8FC7-4EE8-B888-69922AC61F4E}"/>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88417F3A-978A-4D73-B353-02689C969445}"/>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BB9C31BC-2356-4A9F-B917-84520212CC37}"/>
              </a:ext>
            </a:extLst>
          </p:cNvPr>
          <p:cNvPicPr>
            <a:picLocks noChangeAspect="1"/>
          </p:cNvPicPr>
          <p:nvPr/>
        </p:nvPicPr>
        <p:blipFill>
          <a:blip r:embed="rId4"/>
          <a:stretch>
            <a:fillRect/>
          </a:stretch>
        </p:blipFill>
        <p:spPr>
          <a:xfrm>
            <a:off x="8575407" y="7077764"/>
            <a:ext cx="465011" cy="474311"/>
          </a:xfrm>
          <a:prstGeom prst="rect">
            <a:avLst/>
          </a:prstGeom>
        </p:spPr>
      </p:pic>
      <p:sp>
        <p:nvSpPr>
          <p:cNvPr id="2" name="Slide Number Placeholder 1">
            <a:extLst>
              <a:ext uri="{FF2B5EF4-FFF2-40B4-BE49-F238E27FC236}">
                <a16:creationId xmlns:a16="http://schemas.microsoft.com/office/drawing/2014/main" id="{971972FD-FF48-445E-8702-422A7D076A02}"/>
              </a:ext>
            </a:extLst>
          </p:cNvPr>
          <p:cNvSpPr>
            <a:spLocks noGrp="1"/>
          </p:cNvSpPr>
          <p:nvPr>
            <p:ph type="sldNum" sz="quarter" idx="12"/>
          </p:nvPr>
        </p:nvSpPr>
        <p:spPr/>
        <p:txBody>
          <a:bodyPr/>
          <a:lstStyle/>
          <a:p>
            <a:fld id="{A662B3CB-E30B-451B-8500-BFF45B7F134A}" type="slidenum">
              <a:rPr lang="en-GB" smtClean="0"/>
              <a:t>18</a:t>
            </a:fld>
            <a:endParaRPr lang="en-GB"/>
          </a:p>
        </p:txBody>
      </p:sp>
      <p:sp>
        <p:nvSpPr>
          <p:cNvPr id="10" name="Rectangle 9">
            <a:extLst>
              <a:ext uri="{FF2B5EF4-FFF2-40B4-BE49-F238E27FC236}">
                <a16:creationId xmlns:a16="http://schemas.microsoft.com/office/drawing/2014/main" id="{4F08DD8D-A2D4-46AC-85D7-5163D5D9044C}"/>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35672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D399C-ACA0-4CDA-BFEE-E8DE680EE38B}"/>
              </a:ext>
            </a:extLst>
          </p:cNvPr>
          <p:cNvSpPr>
            <a:spLocks noGrp="1"/>
          </p:cNvSpPr>
          <p:nvPr>
            <p:ph type="title"/>
          </p:nvPr>
        </p:nvSpPr>
        <p:spPr>
          <a:xfrm>
            <a:off x="735062" y="325404"/>
            <a:ext cx="9221688" cy="994234"/>
          </a:xfrm>
        </p:spPr>
        <p:txBody>
          <a:bodyPr>
            <a:noAutofit/>
          </a:bodyPr>
          <a:lstStyle/>
          <a:p>
            <a:r>
              <a:rPr lang="en-US" b="1" dirty="0">
                <a:latin typeface="Times New Roman" panose="02020603050405020304" pitchFamily="18" charset="0"/>
                <a:cs typeface="Times New Roman" panose="02020603050405020304" pitchFamily="18" charset="0"/>
              </a:rPr>
              <a:t>Solar desalination greenhouse for utilization of saline and low-grade water</a:t>
            </a:r>
            <a:endParaRPr lang="en-GB" b="1" dirty="0">
              <a:latin typeface="Times New Roman" panose="02020603050405020304" pitchFamily="18"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13CF5C20-0C9B-4C27-9453-54E671B5C0FD}"/>
              </a:ext>
            </a:extLst>
          </p:cNvPr>
          <p:cNvSpPr>
            <a:spLocks noGrp="1"/>
          </p:cNvSpPr>
          <p:nvPr>
            <p:ph idx="1"/>
          </p:nvPr>
        </p:nvSpPr>
        <p:spPr>
          <a:xfrm>
            <a:off x="643943" y="1518007"/>
            <a:ext cx="9221688" cy="2469793"/>
          </a:xfrm>
        </p:spPr>
        <p:txBody>
          <a:bodyPr>
            <a:normAutofit/>
          </a:bodyPr>
          <a:lstStyle/>
          <a:p>
            <a:r>
              <a:rPr lang="en-US" dirty="0"/>
              <a:t>Evaporation greenhouses are designed based on the principle of solar desalination stills where saltwater is evaporated through open surfaces, and the evaporation is increased by cultivating halophytic (salt-tolerant) plants in the desalination (evaporation) greenhouse.</a:t>
            </a:r>
          </a:p>
          <a:p>
            <a:pPr marL="0" indent="0">
              <a:buNone/>
            </a:pPr>
            <a:endParaRPr lang="en-US" dirty="0"/>
          </a:p>
          <a:p>
            <a:r>
              <a:rPr lang="en-US" dirty="0"/>
              <a:t>An existing conventional greenhouse is retrofitted with a desalination compartment (DIVAGRI ‘retrofit kit’) or a stand alone structure is designed. </a:t>
            </a:r>
          </a:p>
        </p:txBody>
      </p:sp>
      <p:pic>
        <p:nvPicPr>
          <p:cNvPr id="4" name="Google Shape;279;p30">
            <a:extLst>
              <a:ext uri="{FF2B5EF4-FFF2-40B4-BE49-F238E27FC236}">
                <a16:creationId xmlns:a16="http://schemas.microsoft.com/office/drawing/2014/main" id="{98D94AAB-82E5-4677-805D-2DA907A0CEAA}"/>
              </a:ext>
            </a:extLst>
          </p:cNvPr>
          <p:cNvPicPr/>
          <p:nvPr/>
        </p:nvPicPr>
        <p:blipFill>
          <a:blip r:embed="rId2" cstate="email">
            <a:alphaModFix/>
            <a:extLst>
              <a:ext uri="{28A0092B-C50C-407E-A947-70E740481C1C}">
                <a14:useLocalDpi xmlns:a14="http://schemas.microsoft.com/office/drawing/2010/main"/>
              </a:ext>
            </a:extLst>
          </a:blip>
          <a:stretch/>
        </p:blipFill>
        <p:spPr bwMode="auto">
          <a:xfrm>
            <a:off x="131324" y="6032160"/>
            <a:ext cx="628863" cy="628863"/>
          </a:xfrm>
          <a:prstGeom prst="rect">
            <a:avLst/>
          </a:prstGeom>
          <a:noFill/>
          <a:ln>
            <a:noFill/>
          </a:ln>
        </p:spPr>
      </p:pic>
      <p:pic>
        <p:nvPicPr>
          <p:cNvPr id="5" name="Picture 4" descr="Text&#10;&#10;Description automatically generated">
            <a:extLst>
              <a:ext uri="{FF2B5EF4-FFF2-40B4-BE49-F238E27FC236}">
                <a16:creationId xmlns:a16="http://schemas.microsoft.com/office/drawing/2014/main" id="{7609B1A1-8EBE-4738-8712-730352E7765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054581" y="6442604"/>
            <a:ext cx="1598425" cy="213260"/>
          </a:xfrm>
          <a:prstGeom prst="rect">
            <a:avLst/>
          </a:prstGeom>
        </p:spPr>
      </p:pic>
      <p:sp>
        <p:nvSpPr>
          <p:cNvPr id="6" name="Google Shape;313;p30">
            <a:extLst>
              <a:ext uri="{FF2B5EF4-FFF2-40B4-BE49-F238E27FC236}">
                <a16:creationId xmlns:a16="http://schemas.microsoft.com/office/drawing/2014/main" id="{11980615-C02E-4E70-9990-2A52079A62CC}"/>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
        <p:nvSpPr>
          <p:cNvPr id="7" name="Rectangle 6">
            <a:extLst>
              <a:ext uri="{FF2B5EF4-FFF2-40B4-BE49-F238E27FC236}">
                <a16:creationId xmlns:a16="http://schemas.microsoft.com/office/drawing/2014/main" id="{68D45696-BE6B-402F-832D-820CD17D847B}"/>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9EBB2388-FA59-4DCF-A6F3-875B3EBABCB5}"/>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83AA8337-546F-4E39-8ADD-1F32D257BD06}"/>
              </a:ext>
            </a:extLst>
          </p:cNvPr>
          <p:cNvPicPr>
            <a:picLocks noChangeAspect="1"/>
          </p:cNvPicPr>
          <p:nvPr/>
        </p:nvPicPr>
        <p:blipFill>
          <a:blip r:embed="rId4"/>
          <a:stretch>
            <a:fillRect/>
          </a:stretch>
        </p:blipFill>
        <p:spPr>
          <a:xfrm>
            <a:off x="8575407" y="7077764"/>
            <a:ext cx="465011" cy="474311"/>
          </a:xfrm>
          <a:prstGeom prst="rect">
            <a:avLst/>
          </a:prstGeom>
        </p:spPr>
      </p:pic>
      <p:sp>
        <p:nvSpPr>
          <p:cNvPr id="10" name="Slide Number Placeholder 9">
            <a:extLst>
              <a:ext uri="{FF2B5EF4-FFF2-40B4-BE49-F238E27FC236}">
                <a16:creationId xmlns:a16="http://schemas.microsoft.com/office/drawing/2014/main" id="{477F9B50-7887-4814-AD3D-B749AB443CB5}"/>
              </a:ext>
            </a:extLst>
          </p:cNvPr>
          <p:cNvSpPr>
            <a:spLocks noGrp="1"/>
          </p:cNvSpPr>
          <p:nvPr>
            <p:ph type="sldNum" sz="quarter" idx="12"/>
          </p:nvPr>
        </p:nvSpPr>
        <p:spPr/>
        <p:txBody>
          <a:bodyPr/>
          <a:lstStyle/>
          <a:p>
            <a:fld id="{A662B3CB-E30B-451B-8500-BFF45B7F134A}" type="slidenum">
              <a:rPr lang="en-GB" smtClean="0"/>
              <a:t>19</a:t>
            </a:fld>
            <a:endParaRPr lang="en-GB"/>
          </a:p>
        </p:txBody>
      </p:sp>
      <p:sp>
        <p:nvSpPr>
          <p:cNvPr id="11" name="Rectangle 10">
            <a:extLst>
              <a:ext uri="{FF2B5EF4-FFF2-40B4-BE49-F238E27FC236}">
                <a16:creationId xmlns:a16="http://schemas.microsoft.com/office/drawing/2014/main" id="{B636AAA5-0312-4DF9-BA05-7CF1EA24118F}"/>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greenhouse with plants growing in it&#10;&#10;Description automatically generated">
            <a:extLst>
              <a:ext uri="{FF2B5EF4-FFF2-40B4-BE49-F238E27FC236}">
                <a16:creationId xmlns:a16="http://schemas.microsoft.com/office/drawing/2014/main" id="{3306F045-6E11-32E1-8735-229B4EB538A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69910" y="3325217"/>
            <a:ext cx="3884877" cy="2913658"/>
          </a:xfrm>
          <a:prstGeom prst="rect">
            <a:avLst/>
          </a:prstGeom>
        </p:spPr>
      </p:pic>
      <p:pic>
        <p:nvPicPr>
          <p:cNvPr id="17" name="Picture 16" descr="A stack of white plastic in front of a greenhouse&#10;&#10;Description automatically generated">
            <a:extLst>
              <a:ext uri="{FF2B5EF4-FFF2-40B4-BE49-F238E27FC236}">
                <a16:creationId xmlns:a16="http://schemas.microsoft.com/office/drawing/2014/main" id="{9748F73B-AF1B-8B7A-2D87-D0594065642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39291" y="3325217"/>
            <a:ext cx="3884877" cy="2913658"/>
          </a:xfrm>
          <a:prstGeom prst="rect">
            <a:avLst/>
          </a:prstGeom>
        </p:spPr>
      </p:pic>
    </p:spTree>
    <p:extLst>
      <p:ext uri="{BB962C8B-B14F-4D97-AF65-F5344CB8AC3E}">
        <p14:creationId xmlns:p14="http://schemas.microsoft.com/office/powerpoint/2010/main" val="3054208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3D1A2-2390-4833-B8A2-0EA6B3FEB8FC}"/>
              </a:ext>
            </a:extLst>
          </p:cNvPr>
          <p:cNvSpPr>
            <a:spLocks noGrp="1"/>
          </p:cNvSpPr>
          <p:nvPr>
            <p:ph type="title"/>
          </p:nvPr>
        </p:nvSpPr>
        <p:spPr>
          <a:xfrm>
            <a:off x="342849" y="1024176"/>
            <a:ext cx="10006115" cy="431909"/>
          </a:xfrm>
        </p:spPr>
        <p:txBody>
          <a:bodyPr/>
          <a:lstStyle/>
          <a:p>
            <a:r>
              <a:rPr lang="en-US" dirty="0"/>
              <a:t>Contents </a:t>
            </a:r>
            <a:endParaRPr lang="en-GB" dirty="0"/>
          </a:p>
        </p:txBody>
      </p:sp>
      <p:sp>
        <p:nvSpPr>
          <p:cNvPr id="3" name="Content Placeholder 2">
            <a:extLst>
              <a:ext uri="{FF2B5EF4-FFF2-40B4-BE49-F238E27FC236}">
                <a16:creationId xmlns:a16="http://schemas.microsoft.com/office/drawing/2014/main" id="{B88092B3-D1B9-42D0-A830-1D2D4AA0F582}"/>
              </a:ext>
            </a:extLst>
          </p:cNvPr>
          <p:cNvSpPr>
            <a:spLocks noGrp="1"/>
          </p:cNvSpPr>
          <p:nvPr>
            <p:ph idx="1"/>
          </p:nvPr>
        </p:nvSpPr>
        <p:spPr>
          <a:xfrm>
            <a:off x="735062" y="1943875"/>
            <a:ext cx="9221688" cy="3815919"/>
          </a:xfrm>
        </p:spPr>
        <p:txBody>
          <a:bodyPr>
            <a:normAutofit/>
          </a:bodyPr>
          <a:lstStyle/>
          <a:p>
            <a:pPr marL="451085" indent="-451085">
              <a:buFont typeface="+mj-lt"/>
              <a:buAutoNum type="arabicPeriod"/>
            </a:pPr>
            <a:r>
              <a:rPr lang="en-US" dirty="0"/>
              <a:t>Introduction to </a:t>
            </a:r>
            <a:r>
              <a:rPr lang="en-US" dirty="0" err="1"/>
              <a:t>DivAgri</a:t>
            </a:r>
            <a:r>
              <a:rPr lang="en-US" dirty="0"/>
              <a:t>.</a:t>
            </a:r>
          </a:p>
          <a:p>
            <a:pPr marL="451085" indent="-451085">
              <a:buFont typeface="+mj-lt"/>
              <a:buAutoNum type="arabicPeriod"/>
            </a:pPr>
            <a:r>
              <a:rPr lang="en-US" dirty="0"/>
              <a:t>Self-regulating, Low Energy, Clay-based Irrigation SLECI</a:t>
            </a:r>
          </a:p>
          <a:p>
            <a:pPr marL="451085" indent="-451085">
              <a:buFont typeface="+mj-lt"/>
              <a:buAutoNum type="arabicPeriod"/>
            </a:pPr>
            <a:r>
              <a:rPr lang="en-US" dirty="0"/>
              <a:t>Multi-functional constructed wetlands (MFCW)</a:t>
            </a:r>
          </a:p>
          <a:p>
            <a:pPr marL="451085" indent="-451085">
              <a:buFont typeface="+mj-lt"/>
              <a:buAutoNum type="arabicPeriod"/>
            </a:pPr>
            <a:r>
              <a:rPr lang="en-US" dirty="0"/>
              <a:t>Biorefinery and Ethnobotanical intercropping</a:t>
            </a:r>
          </a:p>
          <a:p>
            <a:pPr marL="451085" indent="-451085">
              <a:buFont typeface="+mj-lt"/>
              <a:buAutoNum type="arabicPeriod"/>
            </a:pPr>
            <a:r>
              <a:rPr lang="en-US" dirty="0"/>
              <a:t>Biogas digestor</a:t>
            </a:r>
          </a:p>
          <a:p>
            <a:pPr marL="451085" indent="-451085">
              <a:buFont typeface="+mj-lt"/>
              <a:buAutoNum type="arabicPeriod"/>
            </a:pPr>
            <a:r>
              <a:rPr lang="en-US" dirty="0"/>
              <a:t>TLUD Biochar kiln</a:t>
            </a:r>
          </a:p>
          <a:p>
            <a:pPr marL="451085" indent="-451085">
              <a:buFont typeface="+mj-lt"/>
              <a:buAutoNum type="arabicPeriod"/>
            </a:pPr>
            <a:r>
              <a:rPr lang="en-US" dirty="0"/>
              <a:t>Solar desalination greenhouse (SDG)</a:t>
            </a:r>
          </a:p>
          <a:p>
            <a:pPr marL="451085" indent="-451085">
              <a:buFont typeface="+mj-lt"/>
              <a:buAutoNum type="arabicPeriod"/>
            </a:pPr>
            <a:r>
              <a:rPr lang="en-US" dirty="0"/>
              <a:t>Mobile integrated biorefineries for conversion of farming residues to high-value chemicals</a:t>
            </a:r>
            <a:endParaRPr lang="en-GB" dirty="0"/>
          </a:p>
        </p:txBody>
      </p:sp>
      <p:pic>
        <p:nvPicPr>
          <p:cNvPr id="4" name="Google Shape;279;p30">
            <a:extLst>
              <a:ext uri="{FF2B5EF4-FFF2-40B4-BE49-F238E27FC236}">
                <a16:creationId xmlns:a16="http://schemas.microsoft.com/office/drawing/2014/main" id="{BD21BCA2-A41F-4191-98DF-097932CA2CC4}"/>
              </a:ext>
            </a:extLst>
          </p:cNvPr>
          <p:cNvPicPr/>
          <p:nvPr/>
        </p:nvPicPr>
        <p:blipFill>
          <a:blip r:embed="rId2" cstate="email">
            <a:alphaModFix/>
            <a:extLst>
              <a:ext uri="{28A0092B-C50C-407E-A947-70E740481C1C}">
                <a14:useLocalDpi xmlns:a14="http://schemas.microsoft.com/office/drawing/2010/main"/>
              </a:ext>
            </a:extLst>
          </a:blip>
          <a:stretch/>
        </p:blipFill>
        <p:spPr bwMode="auto">
          <a:xfrm>
            <a:off x="131324" y="6032160"/>
            <a:ext cx="628863" cy="628863"/>
          </a:xfrm>
          <a:prstGeom prst="rect">
            <a:avLst/>
          </a:prstGeom>
          <a:noFill/>
          <a:ln>
            <a:noFill/>
          </a:ln>
        </p:spPr>
      </p:pic>
      <p:pic>
        <p:nvPicPr>
          <p:cNvPr id="6" name="Picture 5" descr="Text&#10;&#10;Description automatically generated">
            <a:extLst>
              <a:ext uri="{FF2B5EF4-FFF2-40B4-BE49-F238E27FC236}">
                <a16:creationId xmlns:a16="http://schemas.microsoft.com/office/drawing/2014/main" id="{0906DD1D-90BB-47FB-A88F-75879658546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014082" y="6447764"/>
            <a:ext cx="1598425" cy="213260"/>
          </a:xfrm>
          <a:prstGeom prst="rect">
            <a:avLst/>
          </a:prstGeom>
        </p:spPr>
      </p:pic>
      <p:sp>
        <p:nvSpPr>
          <p:cNvPr id="9" name="Google Shape;313;p30">
            <a:extLst>
              <a:ext uri="{FF2B5EF4-FFF2-40B4-BE49-F238E27FC236}">
                <a16:creationId xmlns:a16="http://schemas.microsoft.com/office/drawing/2014/main" id="{B172A79D-7335-419D-B135-E7FC84D6ED0E}"/>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
        <p:nvSpPr>
          <p:cNvPr id="7" name="Rectangle 6">
            <a:extLst>
              <a:ext uri="{FF2B5EF4-FFF2-40B4-BE49-F238E27FC236}">
                <a16:creationId xmlns:a16="http://schemas.microsoft.com/office/drawing/2014/main" id="{2DEA36A6-F37F-47EB-903E-78719866A332}"/>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03E6A9D7-FFB3-4B2B-AE37-36C9FC77DB10}"/>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10" name="Picture 9">
            <a:extLst>
              <a:ext uri="{FF2B5EF4-FFF2-40B4-BE49-F238E27FC236}">
                <a16:creationId xmlns:a16="http://schemas.microsoft.com/office/drawing/2014/main" id="{F7371B05-D441-4CC5-B6F4-E3F30F8BBAEC}"/>
              </a:ext>
            </a:extLst>
          </p:cNvPr>
          <p:cNvPicPr>
            <a:picLocks noChangeAspect="1"/>
          </p:cNvPicPr>
          <p:nvPr/>
        </p:nvPicPr>
        <p:blipFill>
          <a:blip r:embed="rId4"/>
          <a:stretch>
            <a:fillRect/>
          </a:stretch>
        </p:blipFill>
        <p:spPr>
          <a:xfrm>
            <a:off x="8575407" y="7077764"/>
            <a:ext cx="465011" cy="474311"/>
          </a:xfrm>
          <a:prstGeom prst="rect">
            <a:avLst/>
          </a:prstGeom>
        </p:spPr>
      </p:pic>
      <p:sp>
        <p:nvSpPr>
          <p:cNvPr id="5" name="Slide Number Placeholder 4">
            <a:extLst>
              <a:ext uri="{FF2B5EF4-FFF2-40B4-BE49-F238E27FC236}">
                <a16:creationId xmlns:a16="http://schemas.microsoft.com/office/drawing/2014/main" id="{AA667BAF-393B-4501-9933-D0CCC4849835}"/>
              </a:ext>
            </a:extLst>
          </p:cNvPr>
          <p:cNvSpPr>
            <a:spLocks noGrp="1"/>
          </p:cNvSpPr>
          <p:nvPr>
            <p:ph type="sldNum" sz="quarter" idx="12"/>
          </p:nvPr>
        </p:nvSpPr>
        <p:spPr/>
        <p:txBody>
          <a:bodyPr/>
          <a:lstStyle/>
          <a:p>
            <a:fld id="{A662B3CB-E30B-451B-8500-BFF45B7F134A}" type="slidenum">
              <a:rPr lang="en-GB" smtClean="0"/>
              <a:t>2</a:t>
            </a:fld>
            <a:endParaRPr lang="en-GB"/>
          </a:p>
        </p:txBody>
      </p:sp>
      <p:sp>
        <p:nvSpPr>
          <p:cNvPr id="11" name="Rectangle 10">
            <a:extLst>
              <a:ext uri="{FF2B5EF4-FFF2-40B4-BE49-F238E27FC236}">
                <a16:creationId xmlns:a16="http://schemas.microsoft.com/office/drawing/2014/main" id="{88CC8EBF-E799-4117-8FB2-FD5F0DF14C60}"/>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794416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2104AA-BF36-451B-8DB4-C8D2FB1EFB91}"/>
              </a:ext>
            </a:extLst>
          </p:cNvPr>
          <p:cNvSpPr>
            <a:spLocks noGrp="1"/>
          </p:cNvSpPr>
          <p:nvPr>
            <p:ph idx="1"/>
          </p:nvPr>
        </p:nvSpPr>
        <p:spPr>
          <a:xfrm>
            <a:off x="735062" y="1434114"/>
            <a:ext cx="9221688" cy="4755558"/>
          </a:xfrm>
        </p:spPr>
        <p:txBody>
          <a:bodyPr/>
          <a:lstStyle/>
          <a:p>
            <a:r>
              <a:rPr lang="en-US" dirty="0"/>
              <a:t>DIVAGRI tests passive surface cooling mechanisms to condensate the evaporated water (e.g. saline groundwater or seawater), roof cooling mechanisms such as materials, greening of roofs (xerophytes) and shaded/underground area.</a:t>
            </a:r>
          </a:p>
          <a:p>
            <a:endParaRPr lang="en-US" dirty="0"/>
          </a:p>
          <a:p>
            <a:r>
              <a:rPr lang="en-US" dirty="0"/>
              <a:t>cooling and humidification creates optimal growing conditions inside the greenhouse, which could reduce water losses from evapotranspiration by 90% and increase yields by 10-30%. </a:t>
            </a:r>
            <a:endParaRPr lang="en-GB" dirty="0"/>
          </a:p>
          <a:p>
            <a:pPr marL="0" indent="0">
              <a:buNone/>
            </a:pPr>
            <a:endParaRPr lang="en-GB" dirty="0"/>
          </a:p>
        </p:txBody>
      </p:sp>
      <p:pic>
        <p:nvPicPr>
          <p:cNvPr id="5" name="Google Shape;279;p30">
            <a:extLst>
              <a:ext uri="{FF2B5EF4-FFF2-40B4-BE49-F238E27FC236}">
                <a16:creationId xmlns:a16="http://schemas.microsoft.com/office/drawing/2014/main" id="{49B9E83F-D016-4B12-85DA-B6D9CE98DE5A}"/>
              </a:ext>
            </a:extLst>
          </p:cNvPr>
          <p:cNvPicPr/>
          <p:nvPr/>
        </p:nvPicPr>
        <p:blipFill>
          <a:blip r:embed="rId2" cstate="email">
            <a:alphaModFix/>
            <a:extLst>
              <a:ext uri="{28A0092B-C50C-407E-A947-70E740481C1C}">
                <a14:useLocalDpi xmlns:a14="http://schemas.microsoft.com/office/drawing/2010/main"/>
              </a:ext>
            </a:extLst>
          </a:blip>
          <a:stretch/>
        </p:blipFill>
        <p:spPr bwMode="auto">
          <a:xfrm>
            <a:off x="131324" y="6032160"/>
            <a:ext cx="628863" cy="628863"/>
          </a:xfrm>
          <a:prstGeom prst="rect">
            <a:avLst/>
          </a:prstGeom>
          <a:noFill/>
          <a:ln>
            <a:noFill/>
          </a:ln>
        </p:spPr>
      </p:pic>
      <p:pic>
        <p:nvPicPr>
          <p:cNvPr id="6" name="Picture 5" descr="Text&#10;&#10;Description automatically generated">
            <a:extLst>
              <a:ext uri="{FF2B5EF4-FFF2-40B4-BE49-F238E27FC236}">
                <a16:creationId xmlns:a16="http://schemas.microsoft.com/office/drawing/2014/main" id="{DC6DA7FF-3FFB-4A16-971C-AECBD1E7369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054581" y="6442604"/>
            <a:ext cx="1598425" cy="213260"/>
          </a:xfrm>
          <a:prstGeom prst="rect">
            <a:avLst/>
          </a:prstGeom>
        </p:spPr>
      </p:pic>
      <p:sp>
        <p:nvSpPr>
          <p:cNvPr id="7" name="Google Shape;313;p30">
            <a:extLst>
              <a:ext uri="{FF2B5EF4-FFF2-40B4-BE49-F238E27FC236}">
                <a16:creationId xmlns:a16="http://schemas.microsoft.com/office/drawing/2014/main" id="{03CB84E2-3345-4F2B-8604-F2D3FE81315B}"/>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
        <p:nvSpPr>
          <p:cNvPr id="8" name="Rectangle 7">
            <a:extLst>
              <a:ext uri="{FF2B5EF4-FFF2-40B4-BE49-F238E27FC236}">
                <a16:creationId xmlns:a16="http://schemas.microsoft.com/office/drawing/2014/main" id="{144093A8-E4C5-404E-906C-1FE67A25D622}"/>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3731F418-FB48-4908-8A4B-9507E6443442}"/>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10" name="Picture 9">
            <a:extLst>
              <a:ext uri="{FF2B5EF4-FFF2-40B4-BE49-F238E27FC236}">
                <a16:creationId xmlns:a16="http://schemas.microsoft.com/office/drawing/2014/main" id="{C52C48C1-FE55-4B1F-A8D2-7BFFACDA9F3A}"/>
              </a:ext>
            </a:extLst>
          </p:cNvPr>
          <p:cNvPicPr>
            <a:picLocks noChangeAspect="1"/>
          </p:cNvPicPr>
          <p:nvPr/>
        </p:nvPicPr>
        <p:blipFill>
          <a:blip r:embed="rId4"/>
          <a:stretch>
            <a:fillRect/>
          </a:stretch>
        </p:blipFill>
        <p:spPr>
          <a:xfrm>
            <a:off x="8575407" y="7077764"/>
            <a:ext cx="465011" cy="474311"/>
          </a:xfrm>
          <a:prstGeom prst="rect">
            <a:avLst/>
          </a:prstGeom>
        </p:spPr>
      </p:pic>
      <p:sp>
        <p:nvSpPr>
          <p:cNvPr id="2" name="Slide Number Placeholder 1">
            <a:extLst>
              <a:ext uri="{FF2B5EF4-FFF2-40B4-BE49-F238E27FC236}">
                <a16:creationId xmlns:a16="http://schemas.microsoft.com/office/drawing/2014/main" id="{E107BE2E-5C75-4D8F-8E37-226E126D3F1F}"/>
              </a:ext>
            </a:extLst>
          </p:cNvPr>
          <p:cNvSpPr>
            <a:spLocks noGrp="1"/>
          </p:cNvSpPr>
          <p:nvPr>
            <p:ph type="sldNum" sz="quarter" idx="12"/>
          </p:nvPr>
        </p:nvSpPr>
        <p:spPr/>
        <p:txBody>
          <a:bodyPr/>
          <a:lstStyle/>
          <a:p>
            <a:fld id="{A662B3CB-E30B-451B-8500-BFF45B7F134A}" type="slidenum">
              <a:rPr lang="en-GB" smtClean="0"/>
              <a:t>20</a:t>
            </a:fld>
            <a:endParaRPr lang="en-GB"/>
          </a:p>
        </p:txBody>
      </p:sp>
      <p:sp>
        <p:nvSpPr>
          <p:cNvPr id="11" name="Rectangle 10">
            <a:extLst>
              <a:ext uri="{FF2B5EF4-FFF2-40B4-BE49-F238E27FC236}">
                <a16:creationId xmlns:a16="http://schemas.microsoft.com/office/drawing/2014/main" id="{7C333760-FB9E-48A8-88D2-B549D1344A6B}"/>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blue plastic container with a hose attached to it&#10;&#10;Description automatically generated">
            <a:extLst>
              <a:ext uri="{FF2B5EF4-FFF2-40B4-BE49-F238E27FC236}">
                <a16:creationId xmlns:a16="http://schemas.microsoft.com/office/drawing/2014/main" id="{40C24CEA-CD5B-8DCF-DD45-7478D555A8B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5400000">
            <a:off x="6987031" y="3725883"/>
            <a:ext cx="3289829" cy="2467372"/>
          </a:xfrm>
          <a:prstGeom prst="rect">
            <a:avLst/>
          </a:prstGeom>
        </p:spPr>
      </p:pic>
      <p:pic>
        <p:nvPicPr>
          <p:cNvPr id="14" name="Picture 13" descr="A person in a red hat in a garden&#10;&#10;Description automatically generated">
            <a:extLst>
              <a:ext uri="{FF2B5EF4-FFF2-40B4-BE49-F238E27FC236}">
                <a16:creationId xmlns:a16="http://schemas.microsoft.com/office/drawing/2014/main" id="{688B9E9E-CCC9-0757-541A-BCF6EFAABA8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5400000">
            <a:off x="2801772" y="3776888"/>
            <a:ext cx="3289831" cy="2467373"/>
          </a:xfrm>
          <a:prstGeom prst="rect">
            <a:avLst/>
          </a:prstGeom>
        </p:spPr>
      </p:pic>
    </p:spTree>
    <p:extLst>
      <p:ext uri="{BB962C8B-B14F-4D97-AF65-F5344CB8AC3E}">
        <p14:creationId xmlns:p14="http://schemas.microsoft.com/office/powerpoint/2010/main" val="19110037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4EC4CA8-7832-4388-9F5F-C1F1FE188593}"/>
              </a:ext>
            </a:extLst>
          </p:cNvPr>
          <p:cNvSpPr>
            <a:spLocks noGrp="1"/>
          </p:cNvSpPr>
          <p:nvPr>
            <p:ph type="sldNum" sz="quarter" idx="12"/>
          </p:nvPr>
        </p:nvSpPr>
        <p:spPr/>
        <p:txBody>
          <a:bodyPr/>
          <a:lstStyle/>
          <a:p>
            <a:fld id="{A662B3CB-E30B-451B-8500-BFF45B7F134A}" type="slidenum">
              <a:rPr lang="en-GB" smtClean="0"/>
              <a:t>21</a:t>
            </a:fld>
            <a:endParaRPr lang="en-GB"/>
          </a:p>
        </p:txBody>
      </p:sp>
      <p:sp>
        <p:nvSpPr>
          <p:cNvPr id="7" name="Rectangle 6">
            <a:extLst>
              <a:ext uri="{FF2B5EF4-FFF2-40B4-BE49-F238E27FC236}">
                <a16:creationId xmlns:a16="http://schemas.microsoft.com/office/drawing/2014/main" id="{32839097-61FF-4487-9757-EE3637AB56B0}"/>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94AF05D0-42BE-43A8-AB8D-E4E83DFEED3B}"/>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37E8B1A8-67FB-4C22-BF52-8B34E67FDF66}"/>
              </a:ext>
            </a:extLst>
          </p:cNvPr>
          <p:cNvPicPr>
            <a:picLocks noChangeAspect="1"/>
          </p:cNvPicPr>
          <p:nvPr/>
        </p:nvPicPr>
        <p:blipFill>
          <a:blip r:embed="rId2"/>
          <a:stretch>
            <a:fillRect/>
          </a:stretch>
        </p:blipFill>
        <p:spPr>
          <a:xfrm>
            <a:off x="8575407" y="7077764"/>
            <a:ext cx="465011" cy="474311"/>
          </a:xfrm>
          <a:prstGeom prst="rect">
            <a:avLst/>
          </a:prstGeom>
        </p:spPr>
      </p:pic>
      <p:sp>
        <p:nvSpPr>
          <p:cNvPr id="10" name="Rectangle 9">
            <a:extLst>
              <a:ext uri="{FF2B5EF4-FFF2-40B4-BE49-F238E27FC236}">
                <a16:creationId xmlns:a16="http://schemas.microsoft.com/office/drawing/2014/main" id="{D0C69A72-A7EE-4C40-A9E5-2763B87B4D2D}"/>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3" descr="image007_fe3a5309-7b74-45b5-bb0e-c420a3b6a372">
            <a:extLst>
              <a:ext uri="{FF2B5EF4-FFF2-40B4-BE49-F238E27FC236}">
                <a16:creationId xmlns:a16="http://schemas.microsoft.com/office/drawing/2014/main" id="{39ABE948-86E8-406A-BD9A-7339ABD8F6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6997" y="4822031"/>
            <a:ext cx="8943928" cy="1129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descr="nust-email-signature_8eb9e418-e056-4d73-9804-373a6ba3f77c">
            <a:extLst>
              <a:ext uri="{FF2B5EF4-FFF2-40B4-BE49-F238E27FC236}">
                <a16:creationId xmlns:a16="http://schemas.microsoft.com/office/drawing/2014/main" id="{9D340655-F5E6-4EBB-907E-9DABFD1CAD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8499" y="1007754"/>
            <a:ext cx="4860925" cy="69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5" descr="dicagri_80d8856a-ce2b-42ec-b34a-a9b73502874a">
            <a:extLst>
              <a:ext uri="{FF2B5EF4-FFF2-40B4-BE49-F238E27FC236}">
                <a16:creationId xmlns:a16="http://schemas.microsoft.com/office/drawing/2014/main" id="{284D2366-A56E-4AC7-A5B0-88BD2FBECCB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75931" y="2035969"/>
            <a:ext cx="2786062" cy="278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26131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2F841-86FA-42BF-BFBE-C54A4197C211}"/>
              </a:ext>
            </a:extLst>
          </p:cNvPr>
          <p:cNvSpPr>
            <a:spLocks noGrp="1"/>
          </p:cNvSpPr>
          <p:nvPr>
            <p:ph type="title"/>
          </p:nvPr>
        </p:nvSpPr>
        <p:spPr>
          <a:xfrm>
            <a:off x="477829" y="969887"/>
            <a:ext cx="9221688" cy="847597"/>
          </a:xfrm>
        </p:spPr>
        <p:txBody>
          <a:bodyPr/>
          <a:lstStyle/>
          <a:p>
            <a:r>
              <a:rPr lang="en-US" dirty="0"/>
              <a:t>Introduction</a:t>
            </a:r>
            <a:endParaRPr lang="en-GB" dirty="0"/>
          </a:p>
        </p:txBody>
      </p:sp>
      <p:sp>
        <p:nvSpPr>
          <p:cNvPr id="3" name="Content Placeholder 2">
            <a:extLst>
              <a:ext uri="{FF2B5EF4-FFF2-40B4-BE49-F238E27FC236}">
                <a16:creationId xmlns:a16="http://schemas.microsoft.com/office/drawing/2014/main" id="{E3D855E0-B4C4-471A-AAE5-1E7B888CB574}"/>
              </a:ext>
            </a:extLst>
          </p:cNvPr>
          <p:cNvSpPr>
            <a:spLocks noGrp="1"/>
          </p:cNvSpPr>
          <p:nvPr>
            <p:ph idx="1"/>
          </p:nvPr>
        </p:nvSpPr>
        <p:spPr>
          <a:xfrm>
            <a:off x="342849" y="1441911"/>
            <a:ext cx="10006115" cy="4257850"/>
          </a:xfrm>
        </p:spPr>
        <p:txBody>
          <a:bodyPr>
            <a:normAutofit/>
          </a:bodyPr>
          <a:lstStyle/>
          <a:p>
            <a:r>
              <a:rPr lang="en-US" sz="2105" dirty="0"/>
              <a:t>Revenue Diversification Pathways through bio-based sustainable agricultural innovations Project (DIVAGRI) is a 4-year project funded by the European Union.</a:t>
            </a:r>
          </a:p>
          <a:p>
            <a:endParaRPr lang="en-US" sz="2105" dirty="0"/>
          </a:p>
          <a:p>
            <a:r>
              <a:rPr lang="en-US" sz="2105" dirty="0"/>
              <a:t>The project offers a variety of innovative solutions tailored to assist ecosystem restoration; enhance crop production through regenerative agricultural systems; and convert biomass into high-value bioenergy.</a:t>
            </a:r>
          </a:p>
          <a:p>
            <a:endParaRPr lang="en-US" sz="2105" dirty="0"/>
          </a:p>
          <a:p>
            <a:r>
              <a:rPr lang="en-US" sz="2105" dirty="0"/>
              <a:t>These technologies are developed and adapted to the needs of the local end-users such as farmers, tourism establishments and schools.</a:t>
            </a:r>
          </a:p>
          <a:p>
            <a:pPr marL="0" indent="0">
              <a:buNone/>
            </a:pPr>
            <a:endParaRPr lang="en-US" sz="2105" dirty="0"/>
          </a:p>
        </p:txBody>
      </p:sp>
      <p:pic>
        <p:nvPicPr>
          <p:cNvPr id="4" name="Google Shape;279;p30">
            <a:extLst>
              <a:ext uri="{FF2B5EF4-FFF2-40B4-BE49-F238E27FC236}">
                <a16:creationId xmlns:a16="http://schemas.microsoft.com/office/drawing/2014/main" id="{B8DC4EED-4928-4F7C-ABC8-3D27B56693F0}"/>
              </a:ext>
            </a:extLst>
          </p:cNvPr>
          <p:cNvPicPr/>
          <p:nvPr/>
        </p:nvPicPr>
        <p:blipFill>
          <a:blip r:embed="rId2" cstate="email">
            <a:alphaModFix/>
            <a:extLst>
              <a:ext uri="{28A0092B-C50C-407E-A947-70E740481C1C}">
                <a14:useLocalDpi xmlns:a14="http://schemas.microsoft.com/office/drawing/2010/main"/>
              </a:ext>
            </a:extLst>
          </a:blip>
          <a:stretch/>
        </p:blipFill>
        <p:spPr bwMode="auto">
          <a:xfrm>
            <a:off x="131324" y="6040260"/>
            <a:ext cx="628863" cy="628863"/>
          </a:xfrm>
          <a:prstGeom prst="rect">
            <a:avLst/>
          </a:prstGeom>
          <a:noFill/>
          <a:ln>
            <a:noFill/>
          </a:ln>
        </p:spPr>
      </p:pic>
      <p:pic>
        <p:nvPicPr>
          <p:cNvPr id="5" name="Picture 4" descr="Text&#10;&#10;Description automatically generated">
            <a:extLst>
              <a:ext uri="{FF2B5EF4-FFF2-40B4-BE49-F238E27FC236}">
                <a16:creationId xmlns:a16="http://schemas.microsoft.com/office/drawing/2014/main" id="{DB7259C2-ADB3-4D01-8693-FF1712FA4DF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860192" y="6385907"/>
            <a:ext cx="1598425" cy="213260"/>
          </a:xfrm>
          <a:prstGeom prst="rect">
            <a:avLst/>
          </a:prstGeom>
        </p:spPr>
      </p:pic>
      <p:sp>
        <p:nvSpPr>
          <p:cNvPr id="7" name="Rectangle 6">
            <a:extLst>
              <a:ext uri="{FF2B5EF4-FFF2-40B4-BE49-F238E27FC236}">
                <a16:creationId xmlns:a16="http://schemas.microsoft.com/office/drawing/2014/main" id="{CF4FC7A1-AF91-4FF1-80CE-211726612356}"/>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362B205-6DAD-427E-B24A-A5EDF09BFE4B}"/>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DBE2E14B-A994-4E3C-9B11-EE86015B6DA5}"/>
              </a:ext>
            </a:extLst>
          </p:cNvPr>
          <p:cNvPicPr>
            <a:picLocks noChangeAspect="1"/>
          </p:cNvPicPr>
          <p:nvPr/>
        </p:nvPicPr>
        <p:blipFill>
          <a:blip r:embed="rId4"/>
          <a:stretch>
            <a:fillRect/>
          </a:stretch>
        </p:blipFill>
        <p:spPr>
          <a:xfrm>
            <a:off x="8575407" y="7077764"/>
            <a:ext cx="465011" cy="474311"/>
          </a:xfrm>
          <a:prstGeom prst="rect">
            <a:avLst/>
          </a:prstGeom>
        </p:spPr>
      </p:pic>
      <p:sp>
        <p:nvSpPr>
          <p:cNvPr id="10" name="Slide Number Placeholder 9">
            <a:extLst>
              <a:ext uri="{FF2B5EF4-FFF2-40B4-BE49-F238E27FC236}">
                <a16:creationId xmlns:a16="http://schemas.microsoft.com/office/drawing/2014/main" id="{906E26FE-A0D1-44E4-930A-5CA6651B7CC4}"/>
              </a:ext>
            </a:extLst>
          </p:cNvPr>
          <p:cNvSpPr>
            <a:spLocks noGrp="1"/>
          </p:cNvSpPr>
          <p:nvPr>
            <p:ph type="sldNum" sz="quarter" idx="12"/>
          </p:nvPr>
        </p:nvSpPr>
        <p:spPr/>
        <p:txBody>
          <a:bodyPr/>
          <a:lstStyle/>
          <a:p>
            <a:fld id="{A662B3CB-E30B-451B-8500-BFF45B7F134A}" type="slidenum">
              <a:rPr lang="en-GB" smtClean="0"/>
              <a:t>3</a:t>
            </a:fld>
            <a:endParaRPr lang="en-GB" dirty="0"/>
          </a:p>
        </p:txBody>
      </p:sp>
      <p:sp>
        <p:nvSpPr>
          <p:cNvPr id="11" name="Rectangle 10">
            <a:extLst>
              <a:ext uri="{FF2B5EF4-FFF2-40B4-BE49-F238E27FC236}">
                <a16:creationId xmlns:a16="http://schemas.microsoft.com/office/drawing/2014/main" id="{59609ACA-7606-44AF-8484-0BA2F17C45E9}"/>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Google Shape;313;p30">
            <a:extLst>
              <a:ext uri="{FF2B5EF4-FFF2-40B4-BE49-F238E27FC236}">
                <a16:creationId xmlns:a16="http://schemas.microsoft.com/office/drawing/2014/main" id="{D0F028B2-B858-4178-826F-79C365CF2292}"/>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Tree>
    <p:extLst>
      <p:ext uri="{BB962C8B-B14F-4D97-AF65-F5344CB8AC3E}">
        <p14:creationId xmlns:p14="http://schemas.microsoft.com/office/powerpoint/2010/main" val="4230346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2F841-86FA-42BF-BFBE-C54A4197C211}"/>
              </a:ext>
            </a:extLst>
          </p:cNvPr>
          <p:cNvSpPr>
            <a:spLocks noGrp="1"/>
          </p:cNvSpPr>
          <p:nvPr>
            <p:ph type="title"/>
          </p:nvPr>
        </p:nvSpPr>
        <p:spPr>
          <a:xfrm>
            <a:off x="477829" y="969887"/>
            <a:ext cx="9221688" cy="847597"/>
          </a:xfrm>
        </p:spPr>
        <p:txBody>
          <a:bodyPr/>
          <a:lstStyle/>
          <a:p>
            <a:r>
              <a:rPr lang="en-US" dirty="0"/>
              <a:t>Introduction…..</a:t>
            </a:r>
            <a:r>
              <a:rPr lang="en-US" i="1" dirty="0"/>
              <a:t>cont..</a:t>
            </a:r>
            <a:endParaRPr lang="en-GB" i="1" dirty="0"/>
          </a:p>
        </p:txBody>
      </p:sp>
      <p:sp>
        <p:nvSpPr>
          <p:cNvPr id="3" name="Content Placeholder 2">
            <a:extLst>
              <a:ext uri="{FF2B5EF4-FFF2-40B4-BE49-F238E27FC236}">
                <a16:creationId xmlns:a16="http://schemas.microsoft.com/office/drawing/2014/main" id="{E3D855E0-B4C4-471A-AAE5-1E7B888CB574}"/>
              </a:ext>
            </a:extLst>
          </p:cNvPr>
          <p:cNvSpPr>
            <a:spLocks noGrp="1"/>
          </p:cNvSpPr>
          <p:nvPr>
            <p:ph idx="1"/>
          </p:nvPr>
        </p:nvSpPr>
        <p:spPr>
          <a:xfrm>
            <a:off x="342849" y="1441911"/>
            <a:ext cx="10006115" cy="4573036"/>
          </a:xfrm>
        </p:spPr>
        <p:txBody>
          <a:bodyPr>
            <a:normAutofit fontScale="92500"/>
          </a:bodyPr>
          <a:lstStyle/>
          <a:p>
            <a:r>
              <a:rPr lang="en-US" sz="2105" dirty="0"/>
              <a:t>DIVAGRI technologies are also an adaptation mechanism against climate change impacts. Development of technologies is influenced by indigenous knowledge infused with modern methods to enable local adaptation. </a:t>
            </a:r>
          </a:p>
          <a:p>
            <a:endParaRPr lang="en-US" sz="2105" dirty="0"/>
          </a:p>
          <a:p>
            <a:r>
              <a:rPr lang="en-US" sz="2105" dirty="0"/>
              <a:t>The use of bio-based technologies further promote the circular economy concept by providing sustainable solutions for the production, transformation and use of biological resources. </a:t>
            </a:r>
          </a:p>
          <a:p>
            <a:endParaRPr lang="en-US" sz="2105" dirty="0"/>
          </a:p>
          <a:p>
            <a:r>
              <a:rPr lang="en-US" sz="2105" dirty="0"/>
              <a:t>Of-course investment is necessary to be able to increase income and to diversify technologies by farmers and establishments that are considering the technologies.</a:t>
            </a:r>
          </a:p>
          <a:p>
            <a:pPr marL="0" indent="0">
              <a:buNone/>
            </a:pPr>
            <a:endParaRPr lang="en-US" sz="2105" dirty="0"/>
          </a:p>
          <a:p>
            <a:r>
              <a:rPr lang="en-US" sz="2105" dirty="0"/>
              <a:t> DIVAGRI supports community participation and co-development of collaborative business models; increase income and generate new economic opportunities while guaranteeing food security, real rural opportunities, and sustainability.</a:t>
            </a:r>
            <a:endParaRPr lang="en-GB" sz="2105" dirty="0"/>
          </a:p>
        </p:txBody>
      </p:sp>
      <p:pic>
        <p:nvPicPr>
          <p:cNvPr id="4" name="Google Shape;279;p30">
            <a:extLst>
              <a:ext uri="{FF2B5EF4-FFF2-40B4-BE49-F238E27FC236}">
                <a16:creationId xmlns:a16="http://schemas.microsoft.com/office/drawing/2014/main" id="{B8DC4EED-4928-4F7C-ABC8-3D27B56693F0}"/>
              </a:ext>
            </a:extLst>
          </p:cNvPr>
          <p:cNvPicPr/>
          <p:nvPr/>
        </p:nvPicPr>
        <p:blipFill>
          <a:blip r:embed="rId2" cstate="email">
            <a:alphaModFix/>
            <a:extLst>
              <a:ext uri="{28A0092B-C50C-407E-A947-70E740481C1C}">
                <a14:useLocalDpi xmlns:a14="http://schemas.microsoft.com/office/drawing/2010/main"/>
              </a:ext>
            </a:extLst>
          </a:blip>
          <a:stretch/>
        </p:blipFill>
        <p:spPr bwMode="auto">
          <a:xfrm>
            <a:off x="131324" y="6040260"/>
            <a:ext cx="628863" cy="628863"/>
          </a:xfrm>
          <a:prstGeom prst="rect">
            <a:avLst/>
          </a:prstGeom>
          <a:noFill/>
          <a:ln>
            <a:noFill/>
          </a:ln>
        </p:spPr>
      </p:pic>
      <p:pic>
        <p:nvPicPr>
          <p:cNvPr id="5" name="Picture 4" descr="Text&#10;&#10;Description automatically generated">
            <a:extLst>
              <a:ext uri="{FF2B5EF4-FFF2-40B4-BE49-F238E27FC236}">
                <a16:creationId xmlns:a16="http://schemas.microsoft.com/office/drawing/2014/main" id="{DB7259C2-ADB3-4D01-8693-FF1712FA4DF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860192" y="6385907"/>
            <a:ext cx="1598425" cy="213260"/>
          </a:xfrm>
          <a:prstGeom prst="rect">
            <a:avLst/>
          </a:prstGeom>
        </p:spPr>
      </p:pic>
      <p:sp>
        <p:nvSpPr>
          <p:cNvPr id="7" name="Rectangle 6">
            <a:extLst>
              <a:ext uri="{FF2B5EF4-FFF2-40B4-BE49-F238E27FC236}">
                <a16:creationId xmlns:a16="http://schemas.microsoft.com/office/drawing/2014/main" id="{CF4FC7A1-AF91-4FF1-80CE-211726612356}"/>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362B205-6DAD-427E-B24A-A5EDF09BFE4B}"/>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DBE2E14B-A994-4E3C-9B11-EE86015B6DA5}"/>
              </a:ext>
            </a:extLst>
          </p:cNvPr>
          <p:cNvPicPr>
            <a:picLocks noChangeAspect="1"/>
          </p:cNvPicPr>
          <p:nvPr/>
        </p:nvPicPr>
        <p:blipFill>
          <a:blip r:embed="rId4"/>
          <a:stretch>
            <a:fillRect/>
          </a:stretch>
        </p:blipFill>
        <p:spPr>
          <a:xfrm>
            <a:off x="8575407" y="7077764"/>
            <a:ext cx="465011" cy="474311"/>
          </a:xfrm>
          <a:prstGeom prst="rect">
            <a:avLst/>
          </a:prstGeom>
        </p:spPr>
      </p:pic>
      <p:sp>
        <p:nvSpPr>
          <p:cNvPr id="10" name="Slide Number Placeholder 9">
            <a:extLst>
              <a:ext uri="{FF2B5EF4-FFF2-40B4-BE49-F238E27FC236}">
                <a16:creationId xmlns:a16="http://schemas.microsoft.com/office/drawing/2014/main" id="{906E26FE-A0D1-44E4-930A-5CA6651B7CC4}"/>
              </a:ext>
            </a:extLst>
          </p:cNvPr>
          <p:cNvSpPr>
            <a:spLocks noGrp="1"/>
          </p:cNvSpPr>
          <p:nvPr>
            <p:ph type="sldNum" sz="quarter" idx="12"/>
          </p:nvPr>
        </p:nvSpPr>
        <p:spPr/>
        <p:txBody>
          <a:bodyPr/>
          <a:lstStyle/>
          <a:p>
            <a:fld id="{A662B3CB-E30B-451B-8500-BFF45B7F134A}" type="slidenum">
              <a:rPr lang="en-GB" smtClean="0"/>
              <a:t>4</a:t>
            </a:fld>
            <a:endParaRPr lang="en-GB" dirty="0"/>
          </a:p>
        </p:txBody>
      </p:sp>
      <p:sp>
        <p:nvSpPr>
          <p:cNvPr id="11" name="Rectangle 10">
            <a:extLst>
              <a:ext uri="{FF2B5EF4-FFF2-40B4-BE49-F238E27FC236}">
                <a16:creationId xmlns:a16="http://schemas.microsoft.com/office/drawing/2014/main" id="{59609ACA-7606-44AF-8484-0BA2F17C45E9}"/>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Google Shape;313;p30">
            <a:extLst>
              <a:ext uri="{FF2B5EF4-FFF2-40B4-BE49-F238E27FC236}">
                <a16:creationId xmlns:a16="http://schemas.microsoft.com/office/drawing/2014/main" id="{D0F028B2-B858-4178-826F-79C365CF2292}"/>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Tree>
    <p:extLst>
      <p:ext uri="{BB962C8B-B14F-4D97-AF65-F5344CB8AC3E}">
        <p14:creationId xmlns:p14="http://schemas.microsoft.com/office/powerpoint/2010/main" val="12521480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B650F5D-022E-4CDB-981E-4EDCE6707DC2}"/>
              </a:ext>
            </a:extLst>
          </p:cNvPr>
          <p:cNvSpPr>
            <a:spLocks noGrp="1"/>
          </p:cNvSpPr>
          <p:nvPr>
            <p:ph type="sldNum" sz="quarter" idx="12"/>
          </p:nvPr>
        </p:nvSpPr>
        <p:spPr/>
        <p:txBody>
          <a:bodyPr/>
          <a:lstStyle/>
          <a:p>
            <a:fld id="{A662B3CB-E30B-451B-8500-BFF45B7F134A}" type="slidenum">
              <a:rPr lang="en-GB" smtClean="0"/>
              <a:t>5</a:t>
            </a:fld>
            <a:endParaRPr lang="en-GB"/>
          </a:p>
        </p:txBody>
      </p:sp>
      <p:sp>
        <p:nvSpPr>
          <p:cNvPr id="7" name="Rectangle 6">
            <a:extLst>
              <a:ext uri="{FF2B5EF4-FFF2-40B4-BE49-F238E27FC236}">
                <a16:creationId xmlns:a16="http://schemas.microsoft.com/office/drawing/2014/main" id="{35C1F9AE-A7F5-4F60-8956-4F8494B49209}"/>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7346BC36-AC2F-4DF4-B867-0DA9BD151C2E}"/>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7A5654DD-39A2-4FA4-9B61-EBE317345E20}"/>
              </a:ext>
            </a:extLst>
          </p:cNvPr>
          <p:cNvPicPr>
            <a:picLocks noChangeAspect="1"/>
          </p:cNvPicPr>
          <p:nvPr/>
        </p:nvPicPr>
        <p:blipFill>
          <a:blip r:embed="rId2"/>
          <a:stretch>
            <a:fillRect/>
          </a:stretch>
        </p:blipFill>
        <p:spPr>
          <a:xfrm>
            <a:off x="8575407" y="7077764"/>
            <a:ext cx="465011" cy="474311"/>
          </a:xfrm>
          <a:prstGeom prst="rect">
            <a:avLst/>
          </a:prstGeom>
        </p:spPr>
      </p:pic>
      <p:sp>
        <p:nvSpPr>
          <p:cNvPr id="10" name="Rectangle 9">
            <a:extLst>
              <a:ext uri="{FF2B5EF4-FFF2-40B4-BE49-F238E27FC236}">
                <a16:creationId xmlns:a16="http://schemas.microsoft.com/office/drawing/2014/main" id="{12E884E1-50A9-4611-BA91-E753B1720C79}"/>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oogle Shape;279;p30">
            <a:extLst>
              <a:ext uri="{FF2B5EF4-FFF2-40B4-BE49-F238E27FC236}">
                <a16:creationId xmlns:a16="http://schemas.microsoft.com/office/drawing/2014/main" id="{73C98FDA-6DCB-4A62-8C8E-96476C06277E}"/>
              </a:ext>
            </a:extLst>
          </p:cNvPr>
          <p:cNvPicPr/>
          <p:nvPr/>
        </p:nvPicPr>
        <p:blipFill>
          <a:blip r:embed="rId3" cstate="email">
            <a:alphaModFix/>
            <a:extLst>
              <a:ext uri="{28A0092B-C50C-407E-A947-70E740481C1C}">
                <a14:useLocalDpi xmlns:a14="http://schemas.microsoft.com/office/drawing/2010/main"/>
              </a:ext>
            </a:extLst>
          </a:blip>
          <a:stretch/>
        </p:blipFill>
        <p:spPr bwMode="auto">
          <a:xfrm>
            <a:off x="131324" y="6040260"/>
            <a:ext cx="628863" cy="628863"/>
          </a:xfrm>
          <a:prstGeom prst="rect">
            <a:avLst/>
          </a:prstGeom>
          <a:noFill/>
          <a:ln>
            <a:noFill/>
          </a:ln>
        </p:spPr>
      </p:pic>
      <p:pic>
        <p:nvPicPr>
          <p:cNvPr id="12" name="Picture 11" descr="Text&#10;&#10;Description automatically generated">
            <a:extLst>
              <a:ext uri="{FF2B5EF4-FFF2-40B4-BE49-F238E27FC236}">
                <a16:creationId xmlns:a16="http://schemas.microsoft.com/office/drawing/2014/main" id="{F6DAE24E-D630-4D3F-ADE4-B4CEE1D2375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860192" y="6385907"/>
            <a:ext cx="1598425" cy="213260"/>
          </a:xfrm>
          <a:prstGeom prst="rect">
            <a:avLst/>
          </a:prstGeom>
        </p:spPr>
      </p:pic>
      <p:sp>
        <p:nvSpPr>
          <p:cNvPr id="16" name="Google Shape;313;p30">
            <a:extLst>
              <a:ext uri="{FF2B5EF4-FFF2-40B4-BE49-F238E27FC236}">
                <a16:creationId xmlns:a16="http://schemas.microsoft.com/office/drawing/2014/main" id="{98966A2D-594E-48C0-9341-D994AD84E7C3}"/>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pic>
        <p:nvPicPr>
          <p:cNvPr id="16386" name="Picture 2">
            <a:extLst>
              <a:ext uri="{FF2B5EF4-FFF2-40B4-BE49-F238E27FC236}">
                <a16:creationId xmlns:a16="http://schemas.microsoft.com/office/drawing/2014/main" id="{11D7EC8C-78CD-761A-304D-272242E87B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3854" y="710064"/>
            <a:ext cx="8334850" cy="5639377"/>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66ECC6A8-6066-1C57-850F-81543ED6AD5C}"/>
              </a:ext>
            </a:extLst>
          </p:cNvPr>
          <p:cNvSpPr txBox="1"/>
          <p:nvPr/>
        </p:nvSpPr>
        <p:spPr>
          <a:xfrm>
            <a:off x="1933609" y="216691"/>
            <a:ext cx="7033132" cy="369332"/>
          </a:xfrm>
          <a:prstGeom prst="rect">
            <a:avLst/>
          </a:prstGeom>
          <a:noFill/>
        </p:spPr>
        <p:txBody>
          <a:bodyPr wrap="square" rtlCol="0">
            <a:spAutoFit/>
          </a:bodyPr>
          <a:lstStyle/>
          <a:p>
            <a:r>
              <a:rPr lang="en-US" sz="1800" b="1" i="1" dirty="0">
                <a:latin typeface="Calibri" panose="020F0502020204030204" pitchFamily="34" charset="0"/>
                <a:cs typeface="Calibri" panose="020F0502020204030204" pitchFamily="34" charset="0"/>
              </a:rPr>
              <a:t>Circular economy that DIVAGRI technologies are promoting</a:t>
            </a:r>
            <a:r>
              <a:rPr lang="en-US" sz="1800" b="1" dirty="0"/>
              <a:t> </a:t>
            </a:r>
            <a:endParaRPr lang="en-GB" sz="1800" b="1" dirty="0"/>
          </a:p>
        </p:txBody>
      </p:sp>
    </p:spTree>
    <p:extLst>
      <p:ext uri="{BB962C8B-B14F-4D97-AF65-F5344CB8AC3E}">
        <p14:creationId xmlns:p14="http://schemas.microsoft.com/office/powerpoint/2010/main" val="20336688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5EBF1715-A666-4732-8871-0FCF55B74B24}"/>
              </a:ext>
            </a:extLst>
          </p:cNvPr>
          <p:cNvPicPr>
            <a:picLocks noGrp="1" noChangeAspect="1"/>
          </p:cNvPicPr>
          <p:nvPr>
            <p:ph idx="1"/>
          </p:nvPr>
        </p:nvPicPr>
        <p:blipFill>
          <a:blip r:embed="rId2"/>
          <a:stretch>
            <a:fillRect/>
          </a:stretch>
        </p:blipFill>
        <p:spPr>
          <a:xfrm>
            <a:off x="612809" y="667182"/>
            <a:ext cx="9604074" cy="3392892"/>
          </a:xfrm>
          <a:prstGeom prst="rect">
            <a:avLst/>
          </a:prstGeom>
        </p:spPr>
      </p:pic>
      <p:sp>
        <p:nvSpPr>
          <p:cNvPr id="5" name="Slide Number Placeholder 4">
            <a:extLst>
              <a:ext uri="{FF2B5EF4-FFF2-40B4-BE49-F238E27FC236}">
                <a16:creationId xmlns:a16="http://schemas.microsoft.com/office/drawing/2014/main" id="{6B650F5D-022E-4CDB-981E-4EDCE6707DC2}"/>
              </a:ext>
            </a:extLst>
          </p:cNvPr>
          <p:cNvSpPr>
            <a:spLocks noGrp="1"/>
          </p:cNvSpPr>
          <p:nvPr>
            <p:ph type="sldNum" sz="quarter" idx="12"/>
          </p:nvPr>
        </p:nvSpPr>
        <p:spPr/>
        <p:txBody>
          <a:bodyPr/>
          <a:lstStyle/>
          <a:p>
            <a:fld id="{A662B3CB-E30B-451B-8500-BFF45B7F134A}" type="slidenum">
              <a:rPr lang="en-GB" smtClean="0"/>
              <a:t>6</a:t>
            </a:fld>
            <a:endParaRPr lang="en-GB"/>
          </a:p>
        </p:txBody>
      </p:sp>
      <p:sp>
        <p:nvSpPr>
          <p:cNvPr id="7" name="Rectangle 6">
            <a:extLst>
              <a:ext uri="{FF2B5EF4-FFF2-40B4-BE49-F238E27FC236}">
                <a16:creationId xmlns:a16="http://schemas.microsoft.com/office/drawing/2014/main" id="{35C1F9AE-A7F5-4F60-8956-4F8494B49209}"/>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7346BC36-AC2F-4DF4-B867-0DA9BD151C2E}"/>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7A5654DD-39A2-4FA4-9B61-EBE317345E20}"/>
              </a:ext>
            </a:extLst>
          </p:cNvPr>
          <p:cNvPicPr>
            <a:picLocks noChangeAspect="1"/>
          </p:cNvPicPr>
          <p:nvPr/>
        </p:nvPicPr>
        <p:blipFill>
          <a:blip r:embed="rId3"/>
          <a:stretch>
            <a:fillRect/>
          </a:stretch>
        </p:blipFill>
        <p:spPr>
          <a:xfrm>
            <a:off x="8575407" y="7077764"/>
            <a:ext cx="465011" cy="474311"/>
          </a:xfrm>
          <a:prstGeom prst="rect">
            <a:avLst/>
          </a:prstGeom>
        </p:spPr>
      </p:pic>
      <p:sp>
        <p:nvSpPr>
          <p:cNvPr id="10" name="Rectangle 9">
            <a:extLst>
              <a:ext uri="{FF2B5EF4-FFF2-40B4-BE49-F238E27FC236}">
                <a16:creationId xmlns:a16="http://schemas.microsoft.com/office/drawing/2014/main" id="{12E884E1-50A9-4611-BA91-E753B1720C79}"/>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oogle Shape;279;p30">
            <a:extLst>
              <a:ext uri="{FF2B5EF4-FFF2-40B4-BE49-F238E27FC236}">
                <a16:creationId xmlns:a16="http://schemas.microsoft.com/office/drawing/2014/main" id="{73C98FDA-6DCB-4A62-8C8E-96476C06277E}"/>
              </a:ext>
            </a:extLst>
          </p:cNvPr>
          <p:cNvPicPr/>
          <p:nvPr/>
        </p:nvPicPr>
        <p:blipFill>
          <a:blip r:embed="rId4" cstate="email">
            <a:alphaModFix/>
            <a:extLst>
              <a:ext uri="{28A0092B-C50C-407E-A947-70E740481C1C}">
                <a14:useLocalDpi xmlns:a14="http://schemas.microsoft.com/office/drawing/2010/main"/>
              </a:ext>
            </a:extLst>
          </a:blip>
          <a:stretch/>
        </p:blipFill>
        <p:spPr bwMode="auto">
          <a:xfrm>
            <a:off x="131324" y="6040260"/>
            <a:ext cx="628863" cy="628863"/>
          </a:xfrm>
          <a:prstGeom prst="rect">
            <a:avLst/>
          </a:prstGeom>
          <a:noFill/>
          <a:ln>
            <a:noFill/>
          </a:ln>
        </p:spPr>
      </p:pic>
      <p:pic>
        <p:nvPicPr>
          <p:cNvPr id="12" name="Picture 11" descr="Text&#10;&#10;Description automatically generated">
            <a:extLst>
              <a:ext uri="{FF2B5EF4-FFF2-40B4-BE49-F238E27FC236}">
                <a16:creationId xmlns:a16="http://schemas.microsoft.com/office/drawing/2014/main" id="{F6DAE24E-D630-4D3F-ADE4-B4CEE1D2375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860192" y="6385907"/>
            <a:ext cx="1598425" cy="213260"/>
          </a:xfrm>
          <a:prstGeom prst="rect">
            <a:avLst/>
          </a:prstGeom>
        </p:spPr>
      </p:pic>
      <p:sp>
        <p:nvSpPr>
          <p:cNvPr id="3" name="TextBox 2">
            <a:extLst>
              <a:ext uri="{FF2B5EF4-FFF2-40B4-BE49-F238E27FC236}">
                <a16:creationId xmlns:a16="http://schemas.microsoft.com/office/drawing/2014/main" id="{290C0AA4-E66F-4385-8F4B-74E2B16499E9}"/>
              </a:ext>
            </a:extLst>
          </p:cNvPr>
          <p:cNvSpPr txBox="1"/>
          <p:nvPr/>
        </p:nvSpPr>
        <p:spPr>
          <a:xfrm>
            <a:off x="3106339" y="4020208"/>
            <a:ext cx="5701573" cy="253916"/>
          </a:xfrm>
          <a:prstGeom prst="rect">
            <a:avLst/>
          </a:prstGeom>
          <a:noFill/>
        </p:spPr>
        <p:txBody>
          <a:bodyPr wrap="square" rtlCol="0">
            <a:spAutoFit/>
          </a:bodyPr>
          <a:lstStyle/>
          <a:p>
            <a:r>
              <a:rPr lang="en-US" sz="1050" i="1" dirty="0">
                <a:latin typeface="Calibri" panose="020F0502020204030204" pitchFamily="34" charset="0"/>
                <a:cs typeface="Calibri" panose="020F0502020204030204" pitchFamily="34" charset="0"/>
              </a:rPr>
              <a:t>Figure 1: </a:t>
            </a:r>
            <a:r>
              <a:rPr lang="en-US" sz="1050" i="1" dirty="0" err="1">
                <a:latin typeface="Calibri" panose="020F0502020204030204" pitchFamily="34" charset="0"/>
                <a:cs typeface="Calibri" panose="020F0502020204030204" pitchFamily="34" charset="0"/>
              </a:rPr>
              <a:t>DivAgri</a:t>
            </a:r>
            <a:r>
              <a:rPr lang="en-US" sz="1050" i="1" dirty="0">
                <a:latin typeface="Calibri" panose="020F0502020204030204" pitchFamily="34" charset="0"/>
                <a:cs typeface="Calibri" panose="020F0502020204030204" pitchFamily="34" charset="0"/>
              </a:rPr>
              <a:t> revenue generation strategies</a:t>
            </a:r>
            <a:r>
              <a:rPr lang="en-US" sz="1050" dirty="0"/>
              <a:t> </a:t>
            </a:r>
            <a:endParaRPr lang="en-GB" sz="1050" dirty="0"/>
          </a:p>
        </p:txBody>
      </p:sp>
      <p:sp>
        <p:nvSpPr>
          <p:cNvPr id="15" name="TextBox 14">
            <a:extLst>
              <a:ext uri="{FF2B5EF4-FFF2-40B4-BE49-F238E27FC236}">
                <a16:creationId xmlns:a16="http://schemas.microsoft.com/office/drawing/2014/main" id="{FC0E4A2F-AE80-4179-8E7F-B7B3B698E3C7}"/>
              </a:ext>
            </a:extLst>
          </p:cNvPr>
          <p:cNvSpPr txBox="1"/>
          <p:nvPr/>
        </p:nvSpPr>
        <p:spPr>
          <a:xfrm>
            <a:off x="477829" y="4727416"/>
            <a:ext cx="9418320" cy="1015663"/>
          </a:xfrm>
          <a:prstGeom prst="rect">
            <a:avLst/>
          </a:prstGeom>
          <a:noFill/>
        </p:spPr>
        <p:txBody>
          <a:bodyPr wrap="square" rtlCol="0">
            <a:spAutoFit/>
          </a:bodyPr>
          <a:lstStyle/>
          <a:p>
            <a:pPr marL="342900" indent="-342900">
              <a:buFont typeface="Arial" panose="020B0604020202020204" pitchFamily="34" charset="0"/>
              <a:buChar char="•"/>
            </a:pPr>
            <a:r>
              <a:rPr lang="en-US" sz="2000" dirty="0"/>
              <a:t>DIVAGRI aims to provide farmers with affordable access to high quality farming inputs, resulting in increased and diversified source of income and more sustainable practices.</a:t>
            </a:r>
          </a:p>
        </p:txBody>
      </p:sp>
      <p:sp>
        <p:nvSpPr>
          <p:cNvPr id="16" name="Google Shape;313;p30">
            <a:extLst>
              <a:ext uri="{FF2B5EF4-FFF2-40B4-BE49-F238E27FC236}">
                <a16:creationId xmlns:a16="http://schemas.microsoft.com/office/drawing/2014/main" id="{98966A2D-594E-48C0-9341-D994AD84E7C3}"/>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Tree>
    <p:extLst>
      <p:ext uri="{BB962C8B-B14F-4D97-AF65-F5344CB8AC3E}">
        <p14:creationId xmlns:p14="http://schemas.microsoft.com/office/powerpoint/2010/main" val="4197281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269B3-C018-4851-8CE6-B1D8F06D6097}"/>
              </a:ext>
            </a:extLst>
          </p:cNvPr>
          <p:cNvSpPr>
            <a:spLocks noGrp="1"/>
          </p:cNvSpPr>
          <p:nvPr>
            <p:ph type="title"/>
          </p:nvPr>
        </p:nvSpPr>
        <p:spPr>
          <a:xfrm>
            <a:off x="342850" y="1041227"/>
            <a:ext cx="10006115" cy="431909"/>
          </a:xfrm>
        </p:spPr>
        <p:txBody>
          <a:bodyPr/>
          <a:lstStyle/>
          <a:p>
            <a:r>
              <a:rPr lang="en-US" dirty="0"/>
              <a:t>Self-regulating, Low Energy, Clay-based Irrigation (</a:t>
            </a:r>
            <a:r>
              <a:rPr lang="en-US" u="sng" dirty="0"/>
              <a:t>SLECI)</a:t>
            </a:r>
            <a:br>
              <a:rPr lang="en-US" dirty="0"/>
            </a:br>
            <a:endParaRPr lang="en-GB" u="sng" dirty="0"/>
          </a:p>
        </p:txBody>
      </p:sp>
      <p:sp>
        <p:nvSpPr>
          <p:cNvPr id="3" name="Content Placeholder 2">
            <a:extLst>
              <a:ext uri="{FF2B5EF4-FFF2-40B4-BE49-F238E27FC236}">
                <a16:creationId xmlns:a16="http://schemas.microsoft.com/office/drawing/2014/main" id="{005D29BC-FB0C-423C-9F87-F4EA3F7806FD}"/>
              </a:ext>
            </a:extLst>
          </p:cNvPr>
          <p:cNvSpPr>
            <a:spLocks noGrp="1"/>
          </p:cNvSpPr>
          <p:nvPr>
            <p:ph idx="1"/>
          </p:nvPr>
        </p:nvSpPr>
        <p:spPr>
          <a:xfrm>
            <a:off x="342850" y="1869440"/>
            <a:ext cx="10006115" cy="4753807"/>
          </a:xfrm>
        </p:spPr>
        <p:txBody>
          <a:bodyPr/>
          <a:lstStyle/>
          <a:p>
            <a:pPr marL="0" indent="0">
              <a:buNone/>
            </a:pPr>
            <a:endParaRPr lang="en-US" dirty="0"/>
          </a:p>
          <a:p>
            <a:pPr algn="just"/>
            <a:r>
              <a:rPr lang="en-US" dirty="0"/>
              <a:t>Optimize performance in agroforestry systems, in a variety of soil types with low-grade irrigation water.</a:t>
            </a:r>
          </a:p>
          <a:p>
            <a:endParaRPr lang="en-US" dirty="0"/>
          </a:p>
          <a:p>
            <a:pPr algn="just"/>
            <a:r>
              <a:rPr lang="en-US" dirty="0"/>
              <a:t>This technique combines nature-based wastewater reclamation techniques which reduce the amount of irrigation water needed from dams, boreholes, lakes and rivers by at least 70%, and reduce the amount of energy used for water pumping by 90%.</a:t>
            </a:r>
          </a:p>
        </p:txBody>
      </p:sp>
      <p:pic>
        <p:nvPicPr>
          <p:cNvPr id="4" name="Google Shape;279;p30">
            <a:extLst>
              <a:ext uri="{FF2B5EF4-FFF2-40B4-BE49-F238E27FC236}">
                <a16:creationId xmlns:a16="http://schemas.microsoft.com/office/drawing/2014/main" id="{7724BFF1-164D-4EC5-8EBA-012BDCCE06FA}"/>
              </a:ext>
            </a:extLst>
          </p:cNvPr>
          <p:cNvPicPr/>
          <p:nvPr/>
        </p:nvPicPr>
        <p:blipFill>
          <a:blip r:embed="rId2" cstate="email">
            <a:alphaModFix/>
            <a:extLst>
              <a:ext uri="{28A0092B-C50C-407E-A947-70E740481C1C}">
                <a14:useLocalDpi xmlns:a14="http://schemas.microsoft.com/office/drawing/2010/main"/>
              </a:ext>
            </a:extLst>
          </a:blip>
          <a:stretch/>
        </p:blipFill>
        <p:spPr bwMode="auto">
          <a:xfrm>
            <a:off x="131324" y="6032160"/>
            <a:ext cx="628863" cy="628863"/>
          </a:xfrm>
          <a:prstGeom prst="rect">
            <a:avLst/>
          </a:prstGeom>
          <a:noFill/>
          <a:ln>
            <a:noFill/>
          </a:ln>
        </p:spPr>
      </p:pic>
      <p:pic>
        <p:nvPicPr>
          <p:cNvPr id="5" name="Picture 4" descr="Text&#10;&#10;Description automatically generated">
            <a:extLst>
              <a:ext uri="{FF2B5EF4-FFF2-40B4-BE49-F238E27FC236}">
                <a16:creationId xmlns:a16="http://schemas.microsoft.com/office/drawing/2014/main" id="{18F70567-842C-4109-91F5-48722CA7684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054581" y="6442604"/>
            <a:ext cx="1598425" cy="213260"/>
          </a:xfrm>
          <a:prstGeom prst="rect">
            <a:avLst/>
          </a:prstGeom>
        </p:spPr>
      </p:pic>
      <p:sp>
        <p:nvSpPr>
          <p:cNvPr id="6" name="Google Shape;313;p30">
            <a:extLst>
              <a:ext uri="{FF2B5EF4-FFF2-40B4-BE49-F238E27FC236}">
                <a16:creationId xmlns:a16="http://schemas.microsoft.com/office/drawing/2014/main" id="{9E611D7C-8881-4559-80F4-A263644170BC}"/>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
        <p:nvSpPr>
          <p:cNvPr id="7" name="Rectangle 6">
            <a:extLst>
              <a:ext uri="{FF2B5EF4-FFF2-40B4-BE49-F238E27FC236}">
                <a16:creationId xmlns:a16="http://schemas.microsoft.com/office/drawing/2014/main" id="{80EF6791-A3BA-4EF7-85F4-B772B86A3D7E}"/>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4C85136-476A-4593-AC0A-34B3CA7B8B9D}"/>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248B8E61-7FDE-4FB2-AC7D-EA6EA07BE42F}"/>
              </a:ext>
            </a:extLst>
          </p:cNvPr>
          <p:cNvPicPr>
            <a:picLocks noChangeAspect="1"/>
          </p:cNvPicPr>
          <p:nvPr/>
        </p:nvPicPr>
        <p:blipFill>
          <a:blip r:embed="rId4"/>
          <a:stretch>
            <a:fillRect/>
          </a:stretch>
        </p:blipFill>
        <p:spPr>
          <a:xfrm>
            <a:off x="8575407" y="7077764"/>
            <a:ext cx="465011" cy="474311"/>
          </a:xfrm>
          <a:prstGeom prst="rect">
            <a:avLst/>
          </a:prstGeom>
        </p:spPr>
      </p:pic>
      <p:sp>
        <p:nvSpPr>
          <p:cNvPr id="10" name="Slide Number Placeholder 9">
            <a:extLst>
              <a:ext uri="{FF2B5EF4-FFF2-40B4-BE49-F238E27FC236}">
                <a16:creationId xmlns:a16="http://schemas.microsoft.com/office/drawing/2014/main" id="{AF291D40-0FB6-4F40-AE5A-BB55FB68E0BF}"/>
              </a:ext>
            </a:extLst>
          </p:cNvPr>
          <p:cNvSpPr>
            <a:spLocks noGrp="1"/>
          </p:cNvSpPr>
          <p:nvPr>
            <p:ph type="sldNum" sz="quarter" idx="12"/>
          </p:nvPr>
        </p:nvSpPr>
        <p:spPr/>
        <p:txBody>
          <a:bodyPr/>
          <a:lstStyle/>
          <a:p>
            <a:fld id="{A662B3CB-E30B-451B-8500-BFF45B7F134A}" type="slidenum">
              <a:rPr lang="en-GB" smtClean="0"/>
              <a:t>7</a:t>
            </a:fld>
            <a:endParaRPr lang="en-GB"/>
          </a:p>
        </p:txBody>
      </p:sp>
      <p:sp>
        <p:nvSpPr>
          <p:cNvPr id="11" name="Rectangle 10">
            <a:extLst>
              <a:ext uri="{FF2B5EF4-FFF2-40B4-BE49-F238E27FC236}">
                <a16:creationId xmlns:a16="http://schemas.microsoft.com/office/drawing/2014/main" id="{F2759CD2-BBC0-4C6E-A19D-1900689462FB}"/>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2E31A4EB-8CCA-A31B-A90C-690529CB90E4}"/>
              </a:ext>
            </a:extLst>
          </p:cNvPr>
          <p:cNvPicPr>
            <a:picLocks noChangeAspect="1"/>
          </p:cNvPicPr>
          <p:nvPr/>
        </p:nvPicPr>
        <p:blipFill>
          <a:blip r:embed="rId5"/>
          <a:stretch>
            <a:fillRect/>
          </a:stretch>
        </p:blipFill>
        <p:spPr>
          <a:xfrm>
            <a:off x="3089355" y="3779837"/>
            <a:ext cx="4513101" cy="2500838"/>
          </a:xfrm>
          <a:prstGeom prst="rect">
            <a:avLst/>
          </a:prstGeom>
        </p:spPr>
      </p:pic>
      <p:sp>
        <p:nvSpPr>
          <p:cNvPr id="13" name="TextBox 12">
            <a:extLst>
              <a:ext uri="{FF2B5EF4-FFF2-40B4-BE49-F238E27FC236}">
                <a16:creationId xmlns:a16="http://schemas.microsoft.com/office/drawing/2014/main" id="{E7EC0FB1-6425-8D94-19C7-8BC418A1AF2B}"/>
              </a:ext>
            </a:extLst>
          </p:cNvPr>
          <p:cNvSpPr txBox="1"/>
          <p:nvPr/>
        </p:nvSpPr>
        <p:spPr>
          <a:xfrm>
            <a:off x="7645941" y="4747311"/>
            <a:ext cx="2249951" cy="375809"/>
          </a:xfrm>
          <a:prstGeom prst="rect">
            <a:avLst/>
          </a:prstGeom>
          <a:noFill/>
        </p:spPr>
        <p:txBody>
          <a:bodyPr wrap="square" rtlCol="0">
            <a:spAutoFit/>
          </a:bodyPr>
          <a:lstStyle/>
          <a:p>
            <a:r>
              <a:rPr lang="en-US" sz="1052" i="1" dirty="0">
                <a:latin typeface="Calibri" panose="020F0502020204030204" pitchFamily="34" charset="0"/>
                <a:cs typeface="Calibri" panose="020F0502020204030204" pitchFamily="34" charset="0"/>
              </a:rPr>
              <a:t>Figure 1: SLECI pipes and clay tubes</a:t>
            </a:r>
            <a:r>
              <a:rPr lang="en-US" sz="1842" dirty="0"/>
              <a:t> </a:t>
            </a:r>
            <a:endParaRPr lang="en-GB" sz="1842" dirty="0"/>
          </a:p>
        </p:txBody>
      </p:sp>
    </p:spTree>
    <p:extLst>
      <p:ext uri="{BB962C8B-B14F-4D97-AF65-F5344CB8AC3E}">
        <p14:creationId xmlns:p14="http://schemas.microsoft.com/office/powerpoint/2010/main" val="21185571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829DC48-10A2-4D73-B323-BC44493E51E8}"/>
              </a:ext>
            </a:extLst>
          </p:cNvPr>
          <p:cNvSpPr>
            <a:spLocks noGrp="1"/>
          </p:cNvSpPr>
          <p:nvPr>
            <p:ph idx="1"/>
          </p:nvPr>
        </p:nvSpPr>
        <p:spPr>
          <a:xfrm>
            <a:off x="4167956" y="1041227"/>
            <a:ext cx="6211772" cy="5148445"/>
          </a:xfrm>
        </p:spPr>
        <p:txBody>
          <a:bodyPr>
            <a:normAutofit/>
          </a:bodyPr>
          <a:lstStyle/>
          <a:p>
            <a:pPr algn="just"/>
            <a:r>
              <a:rPr lang="en-US" dirty="0"/>
              <a:t>In SLECI, water is transported via clay tubes which have a higher suction tension than the applied hydraulic pressure, so the surface of the clay tubes stays damp.</a:t>
            </a:r>
          </a:p>
          <a:p>
            <a:pPr algn="just"/>
            <a:endParaRPr lang="en-US" dirty="0"/>
          </a:p>
          <a:p>
            <a:pPr algn="just"/>
            <a:r>
              <a:rPr lang="en-US" dirty="0"/>
              <a:t>DIVAGRI will investigate its performance in a variety of local conditions and in combination with various (reclaimed) irrigation waters.</a:t>
            </a:r>
          </a:p>
          <a:p>
            <a:pPr algn="just"/>
            <a:endParaRPr lang="en-US" dirty="0"/>
          </a:p>
          <a:p>
            <a:pPr marL="0" indent="0" algn="just">
              <a:buNone/>
            </a:pPr>
            <a:endParaRPr lang="en-US" dirty="0"/>
          </a:p>
          <a:p>
            <a:pPr algn="just"/>
            <a:r>
              <a:rPr lang="en-US" dirty="0"/>
              <a:t>Only about 6% of Africa’s cultivated land is currently under irrigation (compared to 30% in Asia). By applying SLECI, it will enable smallholder farmers to irrigate crop fields including feed crops, which will enable them to produce higher food crop yields and cover livestock feed requirements during dry seasons.</a:t>
            </a:r>
            <a:endParaRPr lang="en-GB" dirty="0"/>
          </a:p>
        </p:txBody>
      </p:sp>
      <p:pic>
        <p:nvPicPr>
          <p:cNvPr id="4" name="Google Shape;279;p30">
            <a:extLst>
              <a:ext uri="{FF2B5EF4-FFF2-40B4-BE49-F238E27FC236}">
                <a16:creationId xmlns:a16="http://schemas.microsoft.com/office/drawing/2014/main" id="{499F6F7A-317A-4CDB-BD4C-19588CCA98CD}"/>
              </a:ext>
            </a:extLst>
          </p:cNvPr>
          <p:cNvPicPr/>
          <p:nvPr/>
        </p:nvPicPr>
        <p:blipFill>
          <a:blip r:embed="rId2" cstate="email">
            <a:alphaModFix/>
            <a:extLst>
              <a:ext uri="{28A0092B-C50C-407E-A947-70E740481C1C}">
                <a14:useLocalDpi xmlns:a14="http://schemas.microsoft.com/office/drawing/2010/main"/>
              </a:ext>
            </a:extLst>
          </a:blip>
          <a:stretch/>
        </p:blipFill>
        <p:spPr bwMode="auto">
          <a:xfrm>
            <a:off x="131324" y="6032160"/>
            <a:ext cx="628863" cy="628863"/>
          </a:xfrm>
          <a:prstGeom prst="rect">
            <a:avLst/>
          </a:prstGeom>
          <a:noFill/>
          <a:ln>
            <a:noFill/>
          </a:ln>
        </p:spPr>
      </p:pic>
      <p:pic>
        <p:nvPicPr>
          <p:cNvPr id="5" name="Picture 4" descr="Text&#10;&#10;Description automatically generated">
            <a:extLst>
              <a:ext uri="{FF2B5EF4-FFF2-40B4-BE49-F238E27FC236}">
                <a16:creationId xmlns:a16="http://schemas.microsoft.com/office/drawing/2014/main" id="{5A4E9183-303B-4CD9-A1AC-CC33326DEF9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054581" y="6442604"/>
            <a:ext cx="1598425" cy="213260"/>
          </a:xfrm>
          <a:prstGeom prst="rect">
            <a:avLst/>
          </a:prstGeom>
        </p:spPr>
      </p:pic>
      <p:sp>
        <p:nvSpPr>
          <p:cNvPr id="8" name="Google Shape;313;p30">
            <a:extLst>
              <a:ext uri="{FF2B5EF4-FFF2-40B4-BE49-F238E27FC236}">
                <a16:creationId xmlns:a16="http://schemas.microsoft.com/office/drawing/2014/main" id="{14C40701-4E7E-4086-9125-B781089721EB}"/>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
        <p:nvSpPr>
          <p:cNvPr id="9" name="Rectangle 8">
            <a:extLst>
              <a:ext uri="{FF2B5EF4-FFF2-40B4-BE49-F238E27FC236}">
                <a16:creationId xmlns:a16="http://schemas.microsoft.com/office/drawing/2014/main" id="{D4D7B39D-83DA-4090-874F-5DD7160A38B0}"/>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767468EA-D2D6-450C-99ED-ACF69198A7A5}"/>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11" name="Picture 10">
            <a:extLst>
              <a:ext uri="{FF2B5EF4-FFF2-40B4-BE49-F238E27FC236}">
                <a16:creationId xmlns:a16="http://schemas.microsoft.com/office/drawing/2014/main" id="{EABF1C95-F92F-43B7-BB70-3D06CEC5B9FE}"/>
              </a:ext>
            </a:extLst>
          </p:cNvPr>
          <p:cNvPicPr>
            <a:picLocks noChangeAspect="1"/>
          </p:cNvPicPr>
          <p:nvPr/>
        </p:nvPicPr>
        <p:blipFill>
          <a:blip r:embed="rId4"/>
          <a:stretch>
            <a:fillRect/>
          </a:stretch>
        </p:blipFill>
        <p:spPr>
          <a:xfrm>
            <a:off x="8575407" y="7077764"/>
            <a:ext cx="465011" cy="474311"/>
          </a:xfrm>
          <a:prstGeom prst="rect">
            <a:avLst/>
          </a:prstGeom>
        </p:spPr>
      </p:pic>
      <p:sp>
        <p:nvSpPr>
          <p:cNvPr id="12" name="Slide Number Placeholder 11">
            <a:extLst>
              <a:ext uri="{FF2B5EF4-FFF2-40B4-BE49-F238E27FC236}">
                <a16:creationId xmlns:a16="http://schemas.microsoft.com/office/drawing/2014/main" id="{138C44B0-3469-461A-ACB0-A5A9FC5FF8F9}"/>
              </a:ext>
            </a:extLst>
          </p:cNvPr>
          <p:cNvSpPr>
            <a:spLocks noGrp="1"/>
          </p:cNvSpPr>
          <p:nvPr>
            <p:ph type="sldNum" sz="quarter" idx="12"/>
          </p:nvPr>
        </p:nvSpPr>
        <p:spPr/>
        <p:txBody>
          <a:bodyPr/>
          <a:lstStyle/>
          <a:p>
            <a:fld id="{A662B3CB-E30B-451B-8500-BFF45B7F134A}" type="slidenum">
              <a:rPr lang="en-GB" smtClean="0"/>
              <a:t>8</a:t>
            </a:fld>
            <a:endParaRPr lang="en-GB"/>
          </a:p>
        </p:txBody>
      </p:sp>
      <p:sp>
        <p:nvSpPr>
          <p:cNvPr id="13" name="Rectangle 12">
            <a:extLst>
              <a:ext uri="{FF2B5EF4-FFF2-40B4-BE49-F238E27FC236}">
                <a16:creationId xmlns:a16="http://schemas.microsoft.com/office/drawing/2014/main" id="{7C18AEBC-36ED-45F2-94ED-ECA163CF9B1C}"/>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descr="A group of people standing in the dirt&#10;&#10;Description automatically generated">
            <a:extLst>
              <a:ext uri="{FF2B5EF4-FFF2-40B4-BE49-F238E27FC236}">
                <a16:creationId xmlns:a16="http://schemas.microsoft.com/office/drawing/2014/main" id="{022D3897-4748-A546-568C-8BE8F11285B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8270" t="33082"/>
          <a:stretch/>
        </p:blipFill>
        <p:spPr>
          <a:xfrm rot="5400000">
            <a:off x="-486337" y="1652450"/>
            <a:ext cx="5001226" cy="3499299"/>
          </a:xfrm>
          <a:prstGeom prst="rect">
            <a:avLst/>
          </a:prstGeom>
        </p:spPr>
      </p:pic>
    </p:spTree>
    <p:extLst>
      <p:ext uri="{BB962C8B-B14F-4D97-AF65-F5344CB8AC3E}">
        <p14:creationId xmlns:p14="http://schemas.microsoft.com/office/powerpoint/2010/main" val="12173295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26B61-8614-488E-B90E-C6166EAA3DB6}"/>
              </a:ext>
            </a:extLst>
          </p:cNvPr>
          <p:cNvSpPr>
            <a:spLocks noGrp="1"/>
          </p:cNvSpPr>
          <p:nvPr>
            <p:ph type="title"/>
          </p:nvPr>
        </p:nvSpPr>
        <p:spPr>
          <a:xfrm>
            <a:off x="735062" y="1092963"/>
            <a:ext cx="9221688" cy="855383"/>
          </a:xfrm>
        </p:spPr>
        <p:txBody>
          <a:bodyPr/>
          <a:lstStyle/>
          <a:p>
            <a:r>
              <a:rPr lang="en-US" dirty="0" err="1"/>
              <a:t>MultiFunctional</a:t>
            </a:r>
            <a:r>
              <a:rPr lang="en-US" dirty="0"/>
              <a:t> Constructed Wetland (MFCW)</a:t>
            </a:r>
            <a:endParaRPr lang="en-GB" dirty="0"/>
          </a:p>
        </p:txBody>
      </p:sp>
      <p:sp>
        <p:nvSpPr>
          <p:cNvPr id="3" name="Content Placeholder 2">
            <a:extLst>
              <a:ext uri="{FF2B5EF4-FFF2-40B4-BE49-F238E27FC236}">
                <a16:creationId xmlns:a16="http://schemas.microsoft.com/office/drawing/2014/main" id="{07DAC1E6-899B-45F4-94C9-DD4C6862E66C}"/>
              </a:ext>
            </a:extLst>
          </p:cNvPr>
          <p:cNvSpPr>
            <a:spLocks noGrp="1"/>
          </p:cNvSpPr>
          <p:nvPr>
            <p:ph idx="1"/>
          </p:nvPr>
        </p:nvSpPr>
        <p:spPr>
          <a:xfrm>
            <a:off x="735062" y="1597456"/>
            <a:ext cx="9221688" cy="4241327"/>
          </a:xfrm>
        </p:spPr>
        <p:txBody>
          <a:bodyPr/>
          <a:lstStyle/>
          <a:p>
            <a:r>
              <a:rPr lang="en-US" dirty="0"/>
              <a:t>DIVAGRI provides productive constructed wetlands, natural wastewater treatment solutions, to produce both biomass and reclaimed irrigation water.</a:t>
            </a:r>
          </a:p>
          <a:p>
            <a:r>
              <a:rPr lang="en-US" dirty="0"/>
              <a:t>This combines wastewater treatment and direct reuse in low-input production systems for crops.</a:t>
            </a:r>
          </a:p>
          <a:p>
            <a:r>
              <a:rPr lang="en-US" dirty="0"/>
              <a:t>Wastewater is pre-treated with cultivation of industrial and energy crops in stage 1, and edible crops growing in the effluent in stage 2, with both converging and root zones separated systems piloted.</a:t>
            </a:r>
            <a:endParaRPr lang="en-GB" dirty="0"/>
          </a:p>
        </p:txBody>
      </p:sp>
      <p:pic>
        <p:nvPicPr>
          <p:cNvPr id="4" name="Google Shape;279;p30">
            <a:extLst>
              <a:ext uri="{FF2B5EF4-FFF2-40B4-BE49-F238E27FC236}">
                <a16:creationId xmlns:a16="http://schemas.microsoft.com/office/drawing/2014/main" id="{3386E43E-9C70-48D4-A0D2-782EE86A3224}"/>
              </a:ext>
            </a:extLst>
          </p:cNvPr>
          <p:cNvPicPr/>
          <p:nvPr/>
        </p:nvPicPr>
        <p:blipFill>
          <a:blip r:embed="rId2" cstate="email">
            <a:alphaModFix/>
            <a:extLst>
              <a:ext uri="{28A0092B-C50C-407E-A947-70E740481C1C}">
                <a14:useLocalDpi xmlns:a14="http://schemas.microsoft.com/office/drawing/2010/main"/>
              </a:ext>
            </a:extLst>
          </a:blip>
          <a:stretch/>
        </p:blipFill>
        <p:spPr bwMode="auto">
          <a:xfrm>
            <a:off x="131324" y="6032160"/>
            <a:ext cx="628863" cy="628863"/>
          </a:xfrm>
          <a:prstGeom prst="rect">
            <a:avLst/>
          </a:prstGeom>
          <a:noFill/>
          <a:ln>
            <a:noFill/>
          </a:ln>
        </p:spPr>
      </p:pic>
      <p:pic>
        <p:nvPicPr>
          <p:cNvPr id="5" name="Picture 4" descr="Text&#10;&#10;Description automatically generated">
            <a:extLst>
              <a:ext uri="{FF2B5EF4-FFF2-40B4-BE49-F238E27FC236}">
                <a16:creationId xmlns:a16="http://schemas.microsoft.com/office/drawing/2014/main" id="{4A8D2D0E-1E3D-4B05-9CDA-3EF8ABD02D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1054581" y="6442604"/>
            <a:ext cx="1598425" cy="213260"/>
          </a:xfrm>
          <a:prstGeom prst="rect">
            <a:avLst/>
          </a:prstGeom>
        </p:spPr>
      </p:pic>
      <p:sp>
        <p:nvSpPr>
          <p:cNvPr id="6" name="Google Shape;313;p30">
            <a:extLst>
              <a:ext uri="{FF2B5EF4-FFF2-40B4-BE49-F238E27FC236}">
                <a16:creationId xmlns:a16="http://schemas.microsoft.com/office/drawing/2014/main" id="{969E6C79-FC4A-4A56-8ACF-72EA313660ED}"/>
              </a:ext>
            </a:extLst>
          </p:cNvPr>
          <p:cNvSpPr/>
          <p:nvPr/>
        </p:nvSpPr>
        <p:spPr bwMode="auto">
          <a:xfrm>
            <a:off x="6392352" y="735377"/>
            <a:ext cx="4332499" cy="232919"/>
          </a:xfrm>
          <a:prstGeom prst="rect">
            <a:avLst/>
          </a:prstGeom>
          <a:solidFill>
            <a:srgbClr val="D3E253"/>
          </a:solidFill>
          <a:ln>
            <a:noFill/>
          </a:ln>
        </p:spPr>
        <p:txBody>
          <a:bodyPr spcFirstLastPara="1" wrap="square" lIns="106901" tIns="106901" rIns="106901" bIns="106901" anchor="ctr" anchorCtr="0">
            <a:noAutofit/>
          </a:bodyPr>
          <a:lstStyle/>
          <a:p>
            <a:pPr>
              <a:defRPr/>
            </a:pPr>
            <a:endParaRPr sz="2105"/>
          </a:p>
        </p:txBody>
      </p:sp>
      <p:sp>
        <p:nvSpPr>
          <p:cNvPr id="7" name="Rectangle 6">
            <a:extLst>
              <a:ext uri="{FF2B5EF4-FFF2-40B4-BE49-F238E27FC236}">
                <a16:creationId xmlns:a16="http://schemas.microsoft.com/office/drawing/2014/main" id="{E412A889-E3D5-4BB1-A1D3-A34A911E2514}"/>
              </a:ext>
            </a:extLst>
          </p:cNvPr>
          <p:cNvSpPr/>
          <p:nvPr/>
        </p:nvSpPr>
        <p:spPr>
          <a:xfrm>
            <a:off x="9064074" y="7019294"/>
            <a:ext cx="1253602" cy="463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DAAC3CDC-6B44-4878-9569-684CA5980321}"/>
              </a:ext>
            </a:extLst>
          </p:cNvPr>
          <p:cNvSpPr txBox="1"/>
          <p:nvPr/>
        </p:nvSpPr>
        <p:spPr>
          <a:xfrm>
            <a:off x="9294541" y="7092225"/>
            <a:ext cx="1142180" cy="415498"/>
          </a:xfrm>
          <a:prstGeom prst="rect">
            <a:avLst/>
          </a:prstGeom>
          <a:noFill/>
        </p:spPr>
        <p:txBody>
          <a:bodyPr wrap="square" rtlCol="0">
            <a:spAutoFit/>
          </a:bodyPr>
          <a:lstStyle/>
          <a:p>
            <a:r>
              <a:rPr lang="en-GB" b="1" dirty="0">
                <a:solidFill>
                  <a:srgbClr val="002060"/>
                </a:solidFill>
                <a:latin typeface="Times New Roman" panose="02020603050405020304" pitchFamily="18" charset="0"/>
                <a:cs typeface="Times New Roman" panose="02020603050405020304" pitchFamily="18" charset="0"/>
              </a:rPr>
              <a:t>NUST</a:t>
            </a:r>
            <a:endParaRPr lang="en-US" b="1" dirty="0">
              <a:solidFill>
                <a:srgbClr val="002060"/>
              </a:solidFill>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1446769F-4F29-4FE2-BDF8-6BBBDC92E82C}"/>
              </a:ext>
            </a:extLst>
          </p:cNvPr>
          <p:cNvPicPr>
            <a:picLocks noChangeAspect="1"/>
          </p:cNvPicPr>
          <p:nvPr/>
        </p:nvPicPr>
        <p:blipFill>
          <a:blip r:embed="rId4"/>
          <a:stretch>
            <a:fillRect/>
          </a:stretch>
        </p:blipFill>
        <p:spPr>
          <a:xfrm>
            <a:off x="8575407" y="7077764"/>
            <a:ext cx="465011" cy="474311"/>
          </a:xfrm>
          <a:prstGeom prst="rect">
            <a:avLst/>
          </a:prstGeom>
        </p:spPr>
      </p:pic>
      <p:sp>
        <p:nvSpPr>
          <p:cNvPr id="10" name="Slide Number Placeholder 9">
            <a:extLst>
              <a:ext uri="{FF2B5EF4-FFF2-40B4-BE49-F238E27FC236}">
                <a16:creationId xmlns:a16="http://schemas.microsoft.com/office/drawing/2014/main" id="{D59DA95D-FCD0-43A5-84AA-75B54577BCE3}"/>
              </a:ext>
            </a:extLst>
          </p:cNvPr>
          <p:cNvSpPr>
            <a:spLocks noGrp="1"/>
          </p:cNvSpPr>
          <p:nvPr>
            <p:ph type="sldNum" sz="quarter" idx="12"/>
          </p:nvPr>
        </p:nvSpPr>
        <p:spPr/>
        <p:txBody>
          <a:bodyPr/>
          <a:lstStyle/>
          <a:p>
            <a:fld id="{A662B3CB-E30B-451B-8500-BFF45B7F134A}" type="slidenum">
              <a:rPr lang="en-GB" smtClean="0"/>
              <a:t>9</a:t>
            </a:fld>
            <a:endParaRPr lang="en-GB"/>
          </a:p>
        </p:txBody>
      </p:sp>
      <p:sp>
        <p:nvSpPr>
          <p:cNvPr id="11" name="Rectangle 10">
            <a:extLst>
              <a:ext uri="{FF2B5EF4-FFF2-40B4-BE49-F238E27FC236}">
                <a16:creationId xmlns:a16="http://schemas.microsoft.com/office/drawing/2014/main" id="{113DD029-BF00-41EA-8079-07B0498B5911}"/>
              </a:ext>
            </a:extLst>
          </p:cNvPr>
          <p:cNvSpPr/>
          <p:nvPr/>
        </p:nvSpPr>
        <p:spPr>
          <a:xfrm>
            <a:off x="7645941" y="7342457"/>
            <a:ext cx="642026" cy="14064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2BD61A6E-EB26-9DE3-EB51-2DF60D5B38DA}"/>
              </a:ext>
            </a:extLst>
          </p:cNvPr>
          <p:cNvPicPr>
            <a:picLocks noChangeAspect="1"/>
          </p:cNvPicPr>
          <p:nvPr/>
        </p:nvPicPr>
        <p:blipFill>
          <a:blip r:embed="rId5"/>
          <a:stretch>
            <a:fillRect/>
          </a:stretch>
        </p:blipFill>
        <p:spPr>
          <a:xfrm>
            <a:off x="2947400" y="3038977"/>
            <a:ext cx="6093018" cy="3431481"/>
          </a:xfrm>
          <a:prstGeom prst="rect">
            <a:avLst/>
          </a:prstGeom>
        </p:spPr>
      </p:pic>
    </p:spTree>
    <p:extLst>
      <p:ext uri="{BB962C8B-B14F-4D97-AF65-F5344CB8AC3E}">
        <p14:creationId xmlns:p14="http://schemas.microsoft.com/office/powerpoint/2010/main" val="13720247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ŠKODA A4 Landscape CI">
  <a:themeElements>
    <a:clrScheme name="ŠKODA CI">
      <a:dk1>
        <a:sysClr val="windowText" lastClr="000000"/>
      </a:dk1>
      <a:lt1>
        <a:sysClr val="window" lastClr="FFFFFF"/>
      </a:lt1>
      <a:dk2>
        <a:srgbClr val="D22630"/>
      </a:dk2>
      <a:lt2>
        <a:srgbClr val="FFD200"/>
      </a:lt2>
      <a:accent1>
        <a:srgbClr val="DCDCDC"/>
      </a:accent1>
      <a:accent2>
        <a:srgbClr val="BEBEBE"/>
      </a:accent2>
      <a:accent3>
        <a:srgbClr val="6E6E6E"/>
      </a:accent3>
      <a:accent4>
        <a:srgbClr val="DBEED5"/>
      </a:accent4>
      <a:accent5>
        <a:srgbClr val="81C26D"/>
      </a:accent5>
      <a:accent6>
        <a:srgbClr val="4BA82E"/>
      </a:accent6>
      <a:hlink>
        <a:srgbClr val="000000"/>
      </a:hlink>
      <a:folHlink>
        <a:srgbClr val="000000"/>
      </a:folHlink>
    </a:clrScheme>
    <a:fontScheme name="SKODA Next">
      <a:majorFont>
        <a:latin typeface="SKODA Next"/>
        <a:ea typeface=""/>
        <a:cs typeface=""/>
      </a:majorFont>
      <a:minorFont>
        <a:latin typeface="SKODA Next"/>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ŠKODA CI">
        <a:dk1>
          <a:sysClr val="windowText" lastClr="000000"/>
        </a:dk1>
        <a:lt1>
          <a:sysClr val="window" lastClr="FFFFFF"/>
        </a:lt1>
        <a:dk2>
          <a:srgbClr val="D22630"/>
        </a:dk2>
        <a:lt2>
          <a:srgbClr val="FFD200"/>
        </a:lt2>
        <a:accent1>
          <a:srgbClr val="DCDCDC"/>
        </a:accent1>
        <a:accent2>
          <a:srgbClr val="BEBEBE"/>
        </a:accent2>
        <a:accent3>
          <a:srgbClr val="6E6E6E"/>
        </a:accent3>
        <a:accent4>
          <a:srgbClr val="DBEED5"/>
        </a:accent4>
        <a:accent5>
          <a:srgbClr val="81C26D"/>
        </a:accent5>
        <a:accent6>
          <a:srgbClr val="4BA82E"/>
        </a:accent6>
        <a:hlink>
          <a:srgbClr val="000000"/>
        </a:hlink>
        <a:folHlink>
          <a:srgbClr val="000000"/>
        </a:folHlink>
      </a:clrScheme>
    </a:extraClrScheme>
  </a:extraClrSchemeLst>
  <a:custClrLst>
    <a:custClr name="ŠKODA Green">
      <a:srgbClr val="4BA82E"/>
    </a:custClr>
    <a:custClr name="ŠKODA Chrome Grey">
      <a:srgbClr val="A7AEB4"/>
    </a:custClr>
    <a:custClr name="Warm Grey 1">
      <a:srgbClr val="E0DED8"/>
    </a:custClr>
    <a:custClr name="Warm Grey 2">
      <a:srgbClr val="D5D2CA"/>
    </a:custClr>
    <a:custClr name="Warm Grey 3">
      <a:srgbClr val="C7C2BA"/>
    </a:custClr>
    <a:custClr name="Cool Grey 1">
      <a:srgbClr val="E0E1DD"/>
    </a:custClr>
    <a:custClr name="Cool Grey 2">
      <a:srgbClr val="D5D6D2"/>
    </a:custClr>
    <a:custClr name="Cool Grey 3">
      <a:srgbClr val="C9CAC8"/>
    </a:custClr>
  </a:custClrLst>
  <a:extLst>
    <a:ext uri="{05A4C25C-085E-4340-85A3-A5531E510DB2}">
      <thm15:themeFamily xmlns:thm15="http://schemas.microsoft.com/office/thememl/2012/main" name="SKODA_Sablona_Na_sirku-SKODA_Next_B-CONFIDENTIAL.potx" id="{3E622966-C40B-4EF9-8B9D-B44177D550B5}" vid="{1BD8F3A3-41DB-43D7-AA4E-CB23E3AD0F48}"/>
    </a:ext>
  </a:extLst>
</a:theme>
</file>

<file path=ppt/theme/theme2.xml><?xml version="1.0" encoding="utf-8"?>
<a:theme xmlns:a="http://schemas.openxmlformats.org/drawingml/2006/main" name="ŠKODA A4 Landscape BLUE">
  <a:themeElements>
    <a:clrScheme name="ŠKODA BLUE">
      <a:dk1>
        <a:sysClr val="windowText" lastClr="000000"/>
      </a:dk1>
      <a:lt1>
        <a:sysClr val="window" lastClr="FFFFFF"/>
      </a:lt1>
      <a:dk2>
        <a:srgbClr val="D22630"/>
      </a:dk2>
      <a:lt2>
        <a:srgbClr val="FFD200"/>
      </a:lt2>
      <a:accent1>
        <a:srgbClr val="0090D7"/>
      </a:accent1>
      <a:accent2>
        <a:srgbClr val="004F76"/>
      </a:accent2>
      <a:accent3>
        <a:srgbClr val="7EC9F1"/>
      </a:accent3>
      <a:accent4>
        <a:srgbClr val="777777"/>
      </a:accent4>
      <a:accent5>
        <a:srgbClr val="4A4A4A"/>
      </a:accent5>
      <a:accent6>
        <a:srgbClr val="B8B8B8"/>
      </a:accent6>
      <a:hlink>
        <a:srgbClr val="000000"/>
      </a:hlink>
      <a:folHlink>
        <a:srgbClr val="000000"/>
      </a:folHlink>
    </a:clrScheme>
    <a:fontScheme name="SKODA Next">
      <a:majorFont>
        <a:latin typeface="SKODA Next"/>
        <a:ea typeface=""/>
        <a:cs typeface=""/>
      </a:majorFont>
      <a:minorFont>
        <a:latin typeface="SKODA Next"/>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ŠKODA BLUE">
        <a:dk1>
          <a:sysClr val="windowText" lastClr="000000"/>
        </a:dk1>
        <a:lt1>
          <a:sysClr val="window" lastClr="FFFFFF"/>
        </a:lt1>
        <a:dk2>
          <a:srgbClr val="D22630"/>
        </a:dk2>
        <a:lt2>
          <a:srgbClr val="FFD200"/>
        </a:lt2>
        <a:accent1>
          <a:srgbClr val="0090D7"/>
        </a:accent1>
        <a:accent2>
          <a:srgbClr val="004F76"/>
        </a:accent2>
        <a:accent3>
          <a:srgbClr val="7EC9F1"/>
        </a:accent3>
        <a:accent4>
          <a:srgbClr val="777777"/>
        </a:accent4>
        <a:accent5>
          <a:srgbClr val="4A4A4A"/>
        </a:accent5>
        <a:accent6>
          <a:srgbClr val="004F76"/>
        </a:accent6>
        <a:hlink>
          <a:srgbClr val="000000"/>
        </a:hlink>
        <a:folHlink>
          <a:srgbClr val="000000"/>
        </a:folHlink>
      </a:clrScheme>
    </a:extraClrScheme>
  </a:extraClrSchemeLst>
  <a:custClrLst>
    <a:custClr name="ŠKODA Green">
      <a:srgbClr val="4BA82E"/>
    </a:custClr>
    <a:custClr name="ŠKODA Chrome Grey">
      <a:srgbClr val="A7AEB4"/>
    </a:custClr>
    <a:custClr name="Warm Grey 1">
      <a:srgbClr val="E0DED8"/>
    </a:custClr>
    <a:custClr name="Warm Grey 2">
      <a:srgbClr val="D5D2CA"/>
    </a:custClr>
    <a:custClr name="Warm Grey 3">
      <a:srgbClr val="C7C2BA"/>
    </a:custClr>
    <a:custClr name="Cool Grey 1">
      <a:srgbClr val="E0E1DD"/>
    </a:custClr>
    <a:custClr name="Cool Grey 2">
      <a:srgbClr val="D5D6D2"/>
    </a:custClr>
    <a:custClr name="Cool Grey 3">
      <a:srgbClr val="C9CAC8"/>
    </a:custClr>
  </a:custClrLst>
  <a:extLst>
    <a:ext uri="{05A4C25C-085E-4340-85A3-A5531E510DB2}">
      <thm15:themeFamily xmlns:thm15="http://schemas.microsoft.com/office/thememl/2012/main" name="SKODA_Sablona_Na_sirku-SKODA_Next_B-CONFIDENTIAL.potx" id="{3E622966-C40B-4EF9-8B9D-B44177D550B5}" vid="{1D3E4C5F-E818-475E-A1FE-E01771968294}"/>
    </a:ext>
  </a:extLst>
</a:theme>
</file>

<file path=ppt/theme/theme3.xml><?xml version="1.0" encoding="utf-8"?>
<a:theme xmlns:a="http://schemas.openxmlformats.org/drawingml/2006/main" name="ŠKODA A4 Landscape RED">
  <a:themeElements>
    <a:clrScheme name="ŠKODA RED">
      <a:dk1>
        <a:sysClr val="windowText" lastClr="000000"/>
      </a:dk1>
      <a:lt1>
        <a:sysClr val="window" lastClr="FFFFFF"/>
      </a:lt1>
      <a:dk2>
        <a:srgbClr val="D22630"/>
      </a:dk2>
      <a:lt2>
        <a:srgbClr val="FFD200"/>
      </a:lt2>
      <a:accent1>
        <a:srgbClr val="E62336"/>
      </a:accent1>
      <a:accent2>
        <a:srgbClr val="B00835"/>
      </a:accent2>
      <a:accent3>
        <a:srgbClr val="EA5167"/>
      </a:accent3>
      <a:accent4>
        <a:srgbClr val="E5D1A2"/>
      </a:accent4>
      <a:accent5>
        <a:srgbClr val="878787"/>
      </a:accent5>
      <a:accent6>
        <a:srgbClr val="CECECE"/>
      </a:accent6>
      <a:hlink>
        <a:srgbClr val="000000"/>
      </a:hlink>
      <a:folHlink>
        <a:srgbClr val="000000"/>
      </a:folHlink>
    </a:clrScheme>
    <a:fontScheme name="SKODA Next">
      <a:majorFont>
        <a:latin typeface="SKODA Next"/>
        <a:ea typeface=""/>
        <a:cs typeface=""/>
      </a:majorFont>
      <a:minorFont>
        <a:latin typeface="SKODA Next"/>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ŠKODA RED">
        <a:dk1>
          <a:sysClr val="windowText" lastClr="000000"/>
        </a:dk1>
        <a:lt1>
          <a:sysClr val="window" lastClr="FFFFFF"/>
        </a:lt1>
        <a:dk2>
          <a:srgbClr val="D22630"/>
        </a:dk2>
        <a:lt2>
          <a:srgbClr val="FFD200"/>
        </a:lt2>
        <a:accent1>
          <a:srgbClr val="E62336"/>
        </a:accent1>
        <a:accent2>
          <a:srgbClr val="B00835"/>
        </a:accent2>
        <a:accent3>
          <a:srgbClr val="EA5167"/>
        </a:accent3>
        <a:accent4>
          <a:srgbClr val="E5D1A2"/>
        </a:accent4>
        <a:accent5>
          <a:srgbClr val="878787"/>
        </a:accent5>
        <a:accent6>
          <a:srgbClr val="CECECE"/>
        </a:accent6>
        <a:hlink>
          <a:srgbClr val="000000"/>
        </a:hlink>
        <a:folHlink>
          <a:srgbClr val="000000"/>
        </a:folHlink>
      </a:clrScheme>
    </a:extraClrScheme>
  </a:extraClrSchemeLst>
  <a:custClrLst>
    <a:custClr name="ŠKODA Green">
      <a:srgbClr val="4BA82E"/>
    </a:custClr>
    <a:custClr name="ŠKODA Chrome Grey">
      <a:srgbClr val="A7AEB4"/>
    </a:custClr>
    <a:custClr name="Warm Grey 1">
      <a:srgbClr val="E0DED8"/>
    </a:custClr>
    <a:custClr name="Warm Grey 2">
      <a:srgbClr val="D5D2CA"/>
    </a:custClr>
    <a:custClr name="Warm Grey 3">
      <a:srgbClr val="C7C2BA"/>
    </a:custClr>
    <a:custClr name="Cool Grey 1">
      <a:srgbClr val="E0E1DD"/>
    </a:custClr>
    <a:custClr name="Cool Grey 2">
      <a:srgbClr val="D5D6D2"/>
    </a:custClr>
    <a:custClr name="Cool Grey 3">
      <a:srgbClr val="C9CAC8"/>
    </a:custClr>
  </a:custClrLst>
  <a:extLst>
    <a:ext uri="{05A4C25C-085E-4340-85A3-A5531E510DB2}">
      <thm15:themeFamily xmlns:thm15="http://schemas.microsoft.com/office/thememl/2012/main" name="SKODA_Sablona_Na_sirku-SKODA_Next_B-CONFIDENTIAL.potx" id="{3E622966-C40B-4EF9-8B9D-B44177D550B5}" vid="{47CBA844-533B-46AA-961E-E029FEDF2A00}"/>
    </a:ext>
  </a:extLst>
</a:theme>
</file>

<file path=ppt/theme/theme4.xml><?xml version="1.0" encoding="utf-8"?>
<a:theme xmlns:a="http://schemas.openxmlformats.org/drawingml/2006/main" name="ŠKODA A4 Landscape YELLOW">
  <a:themeElements>
    <a:clrScheme name="ŠKODA YELLOW">
      <a:dk1>
        <a:sysClr val="windowText" lastClr="000000"/>
      </a:dk1>
      <a:lt1>
        <a:sysClr val="window" lastClr="FFFFFF"/>
      </a:lt1>
      <a:dk2>
        <a:srgbClr val="D22630"/>
      </a:dk2>
      <a:lt2>
        <a:srgbClr val="FFD200"/>
      </a:lt2>
      <a:accent1>
        <a:srgbClr val="D3DA44"/>
      </a:accent1>
      <a:accent2>
        <a:srgbClr val="A2C617"/>
      </a:accent2>
      <a:accent3>
        <a:srgbClr val="FFDF43"/>
      </a:accent3>
      <a:accent4>
        <a:srgbClr val="FFF374"/>
      </a:accent4>
      <a:accent5>
        <a:srgbClr val="9D9D9D"/>
      </a:accent5>
      <a:accent6>
        <a:srgbClr val="B2B2B2"/>
      </a:accent6>
      <a:hlink>
        <a:srgbClr val="000000"/>
      </a:hlink>
      <a:folHlink>
        <a:srgbClr val="000000"/>
      </a:folHlink>
    </a:clrScheme>
    <a:fontScheme name="SKODA Next">
      <a:majorFont>
        <a:latin typeface="SKODA Next"/>
        <a:ea typeface=""/>
        <a:cs typeface=""/>
      </a:majorFont>
      <a:minorFont>
        <a:latin typeface="SKODA Next"/>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ŠKODA YELLOW">
        <a:dk1>
          <a:sysClr val="windowText" lastClr="000000"/>
        </a:dk1>
        <a:lt1>
          <a:sysClr val="window" lastClr="FFFFFF"/>
        </a:lt1>
        <a:dk2>
          <a:srgbClr val="D22630"/>
        </a:dk2>
        <a:lt2>
          <a:srgbClr val="FFD200"/>
        </a:lt2>
        <a:accent1>
          <a:srgbClr val="D3DA44"/>
        </a:accent1>
        <a:accent2>
          <a:srgbClr val="A2C617"/>
        </a:accent2>
        <a:accent3>
          <a:srgbClr val="FFDF43"/>
        </a:accent3>
        <a:accent4>
          <a:srgbClr val="FFF374"/>
        </a:accent4>
        <a:accent5>
          <a:srgbClr val="9D9D9D"/>
        </a:accent5>
        <a:accent6>
          <a:srgbClr val="B2B2B2"/>
        </a:accent6>
        <a:hlink>
          <a:srgbClr val="000000"/>
        </a:hlink>
        <a:folHlink>
          <a:srgbClr val="000000"/>
        </a:folHlink>
      </a:clrScheme>
    </a:extraClrScheme>
  </a:extraClrSchemeLst>
  <a:custClrLst>
    <a:custClr name="ŠKODA Green">
      <a:srgbClr val="4BA82E"/>
    </a:custClr>
    <a:custClr name="ŠKODA Chrome Grey">
      <a:srgbClr val="A7AEB4"/>
    </a:custClr>
    <a:custClr name="Warm Grey 1">
      <a:srgbClr val="E0DED8"/>
    </a:custClr>
    <a:custClr name="Warm Grey 2">
      <a:srgbClr val="D5D2CA"/>
    </a:custClr>
    <a:custClr name="Warm Grey 3">
      <a:srgbClr val="C7C2BA"/>
    </a:custClr>
    <a:custClr name="Cool Grey 1">
      <a:srgbClr val="E0E1DD"/>
    </a:custClr>
    <a:custClr name="Cool Grey 2">
      <a:srgbClr val="D5D6D2"/>
    </a:custClr>
    <a:custClr name="Cool Grey 3">
      <a:srgbClr val="C9CAC8"/>
    </a:custClr>
  </a:custClrLst>
  <a:extLst>
    <a:ext uri="{05A4C25C-085E-4340-85A3-A5531E510DB2}">
      <thm15:themeFamily xmlns:thm15="http://schemas.microsoft.com/office/thememl/2012/main" name="SKODA_Sablona_Na_sirku-SKODA_Next_B-CONFIDENTIAL.potx" id="{3E622966-C40B-4EF9-8B9D-B44177D550B5}" vid="{AC61654D-27C7-4C6C-B68F-B3743B7C51A5}"/>
    </a:ext>
  </a:extLst>
</a:theme>
</file>

<file path=ppt/theme/theme5.xml><?xml version="1.0" encoding="utf-8"?>
<a:theme xmlns:a="http://schemas.openxmlformats.org/drawingml/2006/main" name="ŠKODA A4 Landscape TURQUOIS">
  <a:themeElements>
    <a:clrScheme name="ŠKODA TURQUOIS">
      <a:dk1>
        <a:sysClr val="windowText" lastClr="000000"/>
      </a:dk1>
      <a:lt1>
        <a:sysClr val="window" lastClr="FFFFFF"/>
      </a:lt1>
      <a:dk2>
        <a:srgbClr val="D22630"/>
      </a:dk2>
      <a:lt2>
        <a:srgbClr val="FFD200"/>
      </a:lt2>
      <a:accent1>
        <a:srgbClr val="15AF97"/>
      </a:accent1>
      <a:accent2>
        <a:srgbClr val="008A83"/>
      </a:accent2>
      <a:accent3>
        <a:srgbClr val="76B4AF"/>
      </a:accent3>
      <a:accent4>
        <a:srgbClr val="74A3A1"/>
      </a:accent4>
      <a:accent5>
        <a:srgbClr val="706F6F"/>
      </a:accent5>
      <a:accent6>
        <a:srgbClr val="B2B2B2"/>
      </a:accent6>
      <a:hlink>
        <a:srgbClr val="000000"/>
      </a:hlink>
      <a:folHlink>
        <a:srgbClr val="000000"/>
      </a:folHlink>
    </a:clrScheme>
    <a:fontScheme name="SKODA Next">
      <a:majorFont>
        <a:latin typeface="SKODA Next"/>
        <a:ea typeface=""/>
        <a:cs typeface=""/>
      </a:majorFont>
      <a:minorFont>
        <a:latin typeface="SKODA Next"/>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ŠKODA TURQUOIS">
        <a:dk1>
          <a:sysClr val="windowText" lastClr="000000"/>
        </a:dk1>
        <a:lt1>
          <a:sysClr val="window" lastClr="FFFFFF"/>
        </a:lt1>
        <a:dk2>
          <a:srgbClr val="D22630"/>
        </a:dk2>
        <a:lt2>
          <a:srgbClr val="FFD200"/>
        </a:lt2>
        <a:accent1>
          <a:srgbClr val="15AF97"/>
        </a:accent1>
        <a:accent2>
          <a:srgbClr val="008A83"/>
        </a:accent2>
        <a:accent3>
          <a:srgbClr val="76B4AF"/>
        </a:accent3>
        <a:accent4>
          <a:srgbClr val="74A3A1"/>
        </a:accent4>
        <a:accent5>
          <a:srgbClr val="706F6F"/>
        </a:accent5>
        <a:accent6>
          <a:srgbClr val="B2B2B2"/>
        </a:accent6>
        <a:hlink>
          <a:srgbClr val="000000"/>
        </a:hlink>
        <a:folHlink>
          <a:srgbClr val="000000"/>
        </a:folHlink>
      </a:clrScheme>
    </a:extraClrScheme>
  </a:extraClrSchemeLst>
  <a:custClrLst>
    <a:custClr name="ŠKODA Green">
      <a:srgbClr val="4BA82E"/>
    </a:custClr>
    <a:custClr name="ŠKODA Chrome Grey">
      <a:srgbClr val="A7AEB4"/>
    </a:custClr>
    <a:custClr name="Warm Grey 1">
      <a:srgbClr val="E0DED8"/>
    </a:custClr>
    <a:custClr name="Warm Grey 2">
      <a:srgbClr val="D5D2CA"/>
    </a:custClr>
    <a:custClr name="Warm Grey 3">
      <a:srgbClr val="C7C2BA"/>
    </a:custClr>
    <a:custClr name="Cool Grey 1">
      <a:srgbClr val="E0E1DD"/>
    </a:custClr>
    <a:custClr name="Cool Grey 2">
      <a:srgbClr val="D5D6D2"/>
    </a:custClr>
    <a:custClr name="Cool Grey 3">
      <a:srgbClr val="C9CAC8"/>
    </a:custClr>
  </a:custClrLst>
  <a:extLst>
    <a:ext uri="{05A4C25C-085E-4340-85A3-A5531E510DB2}">
      <thm15:themeFamily xmlns:thm15="http://schemas.microsoft.com/office/thememl/2012/main" name="SKODA_Sablona_Na_sirku-SKODA_Next_B-CONFIDENTIAL.potx" id="{3E622966-C40B-4EF9-8B9D-B44177D550B5}" vid="{30957459-031F-4DFC-9A7D-1600BE077C01}"/>
    </a:ext>
  </a:extLst>
</a:theme>
</file>

<file path=ppt/theme/theme6.xml><?xml version="1.0" encoding="utf-8"?>
<a:theme xmlns:a="http://schemas.openxmlformats.org/drawingml/2006/main" name="Motiv sady Office">
  <a:themeElements>
    <a:clrScheme name="ŠKODA CI">
      <a:dk1>
        <a:sysClr val="windowText" lastClr="000000"/>
      </a:dk1>
      <a:lt1>
        <a:sysClr val="window" lastClr="FFFFFF"/>
      </a:lt1>
      <a:dk2>
        <a:srgbClr val="D22630"/>
      </a:dk2>
      <a:lt2>
        <a:srgbClr val="FFD200"/>
      </a:lt2>
      <a:accent1>
        <a:srgbClr val="DCDCDC"/>
      </a:accent1>
      <a:accent2>
        <a:srgbClr val="BEBEBE"/>
      </a:accent2>
      <a:accent3>
        <a:srgbClr val="6E6E6E"/>
      </a:accent3>
      <a:accent4>
        <a:srgbClr val="DBEED5"/>
      </a:accent4>
      <a:accent5>
        <a:srgbClr val="81C26D"/>
      </a:accent5>
      <a:accent6>
        <a:srgbClr val="4BA82E"/>
      </a:accent6>
      <a:hlink>
        <a:srgbClr val="000000"/>
      </a:hlink>
      <a:folHlink>
        <a:srgbClr val="000000"/>
      </a:folHlink>
    </a:clrScheme>
    <a:fontScheme name="SKODA Next">
      <a:majorFont>
        <a:latin typeface="SKODA Next"/>
        <a:ea typeface=""/>
        <a:cs typeface=""/>
      </a:majorFont>
      <a:minorFont>
        <a:latin typeface="SKODA Next"/>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ŠKODA CI">
        <a:dk1>
          <a:sysClr val="windowText" lastClr="000000"/>
        </a:dk1>
        <a:lt1>
          <a:sysClr val="window" lastClr="FFFFFF"/>
        </a:lt1>
        <a:dk2>
          <a:srgbClr val="D22630"/>
        </a:dk2>
        <a:lt2>
          <a:srgbClr val="FFD200"/>
        </a:lt2>
        <a:accent1>
          <a:srgbClr val="DCDCDC"/>
        </a:accent1>
        <a:accent2>
          <a:srgbClr val="BEBEBE"/>
        </a:accent2>
        <a:accent3>
          <a:srgbClr val="6E6E6E"/>
        </a:accent3>
        <a:accent4>
          <a:srgbClr val="DBEED5"/>
        </a:accent4>
        <a:accent5>
          <a:srgbClr val="81C26D"/>
        </a:accent5>
        <a:accent6>
          <a:srgbClr val="4BA82E"/>
        </a:accent6>
        <a:hlink>
          <a:srgbClr val="000000"/>
        </a:hlink>
        <a:folHlink>
          <a:srgbClr val="000000"/>
        </a:folHlink>
      </a:clrScheme>
    </a:extraClrScheme>
  </a:extraClrSchemeLst>
  <a:custClrLst>
    <a:custClr name="ŠKODA Green">
      <a:srgbClr val="4BA82E"/>
    </a:custClr>
    <a:custClr name="ŠKODA Chrome Grey">
      <a:srgbClr val="A7AEB4"/>
    </a:custClr>
    <a:custClr name="Warm Grey 1">
      <a:srgbClr val="E0DED8"/>
    </a:custClr>
    <a:custClr name="Warm Grey 2">
      <a:srgbClr val="D5D2CA"/>
    </a:custClr>
    <a:custClr name="Warm Grey 3">
      <a:srgbClr val="C7C2BA"/>
    </a:custClr>
    <a:custClr name="Cool Grey 1">
      <a:srgbClr val="E0E1DD"/>
    </a:custClr>
    <a:custClr name="Cool Grey 2">
      <a:srgbClr val="D5D6D2"/>
    </a:custClr>
    <a:custClr name="Cool Grey 3">
      <a:srgbClr val="C9CAC8"/>
    </a:custClr>
  </a:custClrLst>
</a:theme>
</file>

<file path=ppt/theme/theme7.xml><?xml version="1.0" encoding="utf-8"?>
<a:theme xmlns:a="http://schemas.openxmlformats.org/drawingml/2006/main" name="Motiv sady Office">
  <a:themeElements>
    <a:clrScheme name="ŠKODA CI">
      <a:dk1>
        <a:sysClr val="windowText" lastClr="000000"/>
      </a:dk1>
      <a:lt1>
        <a:sysClr val="window" lastClr="FFFFFF"/>
      </a:lt1>
      <a:dk2>
        <a:srgbClr val="D22630"/>
      </a:dk2>
      <a:lt2>
        <a:srgbClr val="FFD200"/>
      </a:lt2>
      <a:accent1>
        <a:srgbClr val="DCDCDC"/>
      </a:accent1>
      <a:accent2>
        <a:srgbClr val="BEBEBE"/>
      </a:accent2>
      <a:accent3>
        <a:srgbClr val="6E6E6E"/>
      </a:accent3>
      <a:accent4>
        <a:srgbClr val="DBEED5"/>
      </a:accent4>
      <a:accent5>
        <a:srgbClr val="81C26D"/>
      </a:accent5>
      <a:accent6>
        <a:srgbClr val="4BA82E"/>
      </a:accent6>
      <a:hlink>
        <a:srgbClr val="000000"/>
      </a:hlink>
      <a:folHlink>
        <a:srgbClr val="000000"/>
      </a:folHlink>
    </a:clrScheme>
    <a:fontScheme name="SKODA Next">
      <a:majorFont>
        <a:latin typeface="SKODA Next"/>
        <a:ea typeface=""/>
        <a:cs typeface=""/>
      </a:majorFont>
      <a:minorFont>
        <a:latin typeface="SKODA Next"/>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ŠKODA CI">
        <a:dk1>
          <a:sysClr val="windowText" lastClr="000000"/>
        </a:dk1>
        <a:lt1>
          <a:sysClr val="window" lastClr="FFFFFF"/>
        </a:lt1>
        <a:dk2>
          <a:srgbClr val="D22630"/>
        </a:dk2>
        <a:lt2>
          <a:srgbClr val="FFD200"/>
        </a:lt2>
        <a:accent1>
          <a:srgbClr val="DCDCDC"/>
        </a:accent1>
        <a:accent2>
          <a:srgbClr val="BEBEBE"/>
        </a:accent2>
        <a:accent3>
          <a:srgbClr val="6E6E6E"/>
        </a:accent3>
        <a:accent4>
          <a:srgbClr val="DBEED5"/>
        </a:accent4>
        <a:accent5>
          <a:srgbClr val="81C26D"/>
        </a:accent5>
        <a:accent6>
          <a:srgbClr val="4BA82E"/>
        </a:accent6>
        <a:hlink>
          <a:srgbClr val="000000"/>
        </a:hlink>
        <a:folHlink>
          <a:srgbClr val="000000"/>
        </a:folHlink>
      </a:clrScheme>
    </a:extraClrScheme>
  </a:extraClrSchemeLst>
  <a:custClrLst>
    <a:custClr name="ŠKODA Green">
      <a:srgbClr val="4BA82E"/>
    </a:custClr>
    <a:custClr name="ŠKODA Chrome Grey">
      <a:srgbClr val="A7AEB4"/>
    </a:custClr>
    <a:custClr name="Warm Grey 1">
      <a:srgbClr val="E0DED8"/>
    </a:custClr>
    <a:custClr name="Warm Grey 2">
      <a:srgbClr val="D5D2CA"/>
    </a:custClr>
    <a:custClr name="Warm Grey 3">
      <a:srgbClr val="C7C2BA"/>
    </a:custClr>
    <a:custClr name="Cool Grey 1">
      <a:srgbClr val="E0E1DD"/>
    </a:custClr>
    <a:custClr name="Cool Grey 2">
      <a:srgbClr val="D5D6D2"/>
    </a:custClr>
    <a:custClr name="Cool Grey 3">
      <a:srgbClr val="C9CAC8"/>
    </a:custClr>
  </a:custClrLst>
</a:theme>
</file>

<file path=docProps/app.xml><?xml version="1.0" encoding="utf-8"?>
<Properties xmlns="http://schemas.openxmlformats.org/officeDocument/2006/extended-properties" xmlns:vt="http://schemas.openxmlformats.org/officeDocument/2006/docPropsVTypes">
  <Template>SKODA_Sablona_Na_sirku-SKODA_Next_CONFIDENTIAL</Template>
  <TotalTime>17473</TotalTime>
  <Words>1613</Words>
  <Application>Microsoft Office PowerPoint</Application>
  <PresentationFormat>Custom</PresentationFormat>
  <Paragraphs>154</Paragraphs>
  <Slides>21</Slides>
  <Notes>1</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32" baseType="lpstr">
      <vt:lpstr>Arial</vt:lpstr>
      <vt:lpstr>Calibri</vt:lpstr>
      <vt:lpstr>SKODA Next</vt:lpstr>
      <vt:lpstr>Times New Roman</vt:lpstr>
      <vt:lpstr>Wingdings</vt:lpstr>
      <vt:lpstr>ŠKODA A4 Landscape CI</vt:lpstr>
      <vt:lpstr>ŠKODA A4 Landscape BLUE</vt:lpstr>
      <vt:lpstr>ŠKODA A4 Landscape RED</vt:lpstr>
      <vt:lpstr>ŠKODA A4 Landscape YELLOW</vt:lpstr>
      <vt:lpstr>ŠKODA A4 Landscape TURQUOIS</vt:lpstr>
      <vt:lpstr>think-cell Slide</vt:lpstr>
      <vt:lpstr>PowerPoint Presentation</vt:lpstr>
      <vt:lpstr>Contents </vt:lpstr>
      <vt:lpstr>Introduction</vt:lpstr>
      <vt:lpstr>Introduction…..cont..</vt:lpstr>
      <vt:lpstr>PowerPoint Presentation</vt:lpstr>
      <vt:lpstr>PowerPoint Presentation</vt:lpstr>
      <vt:lpstr>Self-regulating, Low Energy, Clay-based Irrigation (SLECI) </vt:lpstr>
      <vt:lpstr>PowerPoint Presentation</vt:lpstr>
      <vt:lpstr>MultiFunctional Constructed Wetland (MFCW)</vt:lpstr>
      <vt:lpstr>MFCW at NUST</vt:lpstr>
      <vt:lpstr>PowerPoint Presentation</vt:lpstr>
      <vt:lpstr>Ethnobotanical and intercropping at NUST</vt:lpstr>
      <vt:lpstr>Biogas digestor</vt:lpstr>
      <vt:lpstr>Biogas digestor at NUST</vt:lpstr>
      <vt:lpstr>BioChar Kiln</vt:lpstr>
      <vt:lpstr>BioChar production at NUST</vt:lpstr>
      <vt:lpstr>Mobile integrated biorefineries for conversion of farming residues to high-value chemicals</vt:lpstr>
      <vt:lpstr>PowerPoint Presentation</vt:lpstr>
      <vt:lpstr>Solar desalination greenhouse for utilization of saline and low-grade water</vt:lpstr>
      <vt:lpstr>PowerPoint Presentation</vt:lpstr>
      <vt:lpstr>PowerPoint Presentation</vt:lpstr>
    </vt:vector>
  </TitlesOfParts>
  <Manager/>
  <Company>Škoda Auto 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ázev prezentace</dc:title>
  <dc:creator>Shalimba, Veikko Lungameni (EKZ)</dc:creator>
  <cp:lastModifiedBy>Shihepo, Fransina</cp:lastModifiedBy>
  <cp:revision>900</cp:revision>
  <cp:lastPrinted>2017-05-25T06:37:09Z</cp:lastPrinted>
  <dcterms:created xsi:type="dcterms:W3CDTF">2017-03-08T13:28:30Z</dcterms:created>
  <dcterms:modified xsi:type="dcterms:W3CDTF">2023-09-25T14:01:59Z</dcterms:modified>
</cp:coreProperties>
</file>